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9"/>
  </p:notesMasterIdLst>
  <p:sldIdLst>
    <p:sldId id="256" r:id="rId2"/>
    <p:sldId id="264" r:id="rId3"/>
    <p:sldId id="258" r:id="rId4"/>
    <p:sldId id="263" r:id="rId5"/>
    <p:sldId id="259" r:id="rId6"/>
    <p:sldId id="260" r:id="rId7"/>
    <p:sldId id="261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EB4427C-071F-18F3-DBBF-8217E41BC32B}" name="c.anaya@alumnos.upm.es" initials="c." userId="S::urn:spo:guest#c.anaya@alumnos.upm.es::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7CCD3"/>
    <a:srgbClr val="44546A"/>
    <a:srgbClr val="43536A"/>
    <a:srgbClr val="8497B0"/>
    <a:srgbClr val="DAE3F3"/>
    <a:srgbClr val="D6DC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D6F741B-31E2-F14C-A819-9B33939A1F82}" v="2214" dt="2023-12-07T04:30:23.32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529"/>
    <p:restoredTop sz="94718"/>
  </p:normalViewPr>
  <p:slideViewPr>
    <p:cSldViewPr snapToGrid="0">
      <p:cViewPr varScale="1">
        <p:scale>
          <a:sx n="108" d="100"/>
          <a:sy n="108" d="100"/>
        </p:scale>
        <p:origin x="232" y="3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microsoft.com/office/2018/10/relationships/authors" Target="authors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6475B6-A502-9042-80E6-9F601E3E755E}" type="datetimeFigureOut">
              <a:rPr lang="en-US" smtClean="0"/>
              <a:t>1/13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957991-2D36-3242-B865-24CDA406CB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7619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957991-2D36-3242-B865-24CDA406CB8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386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957991-2D36-3242-B865-24CDA406CB8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2738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957991-2D36-3242-B865-24CDA406CB8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46898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957991-2D36-3242-B865-24CDA406CB8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6488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957991-2D36-3242-B865-24CDA406CB8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7141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957991-2D36-3242-B865-24CDA406CB8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43576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249B3A-CCFE-0D38-D904-A5172CB12C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1406DC-5F5B-2734-5AF5-2C00EA0C4B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9377AD-3985-9E54-A993-4D8DC4950B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109EF-C7F4-0548-9C29-73E9FD539A2E}" type="datetimeFigureOut">
              <a:rPr lang="en-US" smtClean="0"/>
              <a:t>1/1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42017F-6C46-EBBD-C855-0FBA5DBB22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3C118C-7D82-CFFA-EE6B-F71DD7DE1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DD448B-C78E-F344-9E82-D2FE127895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4286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A908FA-3D78-45B6-2824-AC8F0CECC1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F96B2ED-970C-84E1-FD46-F1DC28ADD54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BE1095-B101-37D7-B7E1-56AEAE95F1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109EF-C7F4-0548-9C29-73E9FD539A2E}" type="datetimeFigureOut">
              <a:rPr lang="en-US" smtClean="0"/>
              <a:t>1/1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17B0A8-FBE1-2645-588B-7CB71B0B36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822DFA-0AAD-8172-8A13-55F50B4500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DD448B-C78E-F344-9E82-D2FE127895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6360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0905752-9B52-9105-986F-65B3C534E12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F510765-7F7F-6464-FC40-07EAB3D5BA5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55CD8C-412B-664D-A4E8-ABB6F81070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109EF-C7F4-0548-9C29-73E9FD539A2E}" type="datetimeFigureOut">
              <a:rPr lang="en-US" smtClean="0"/>
              <a:t>1/1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8A7CA9-3524-6F0C-B917-9FFEE374DE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3B316F-A08F-ACB4-08F6-858240841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DD448B-C78E-F344-9E82-D2FE127895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475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63538E-DAC9-8631-F868-5BFFE38FDA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CD441A-0C32-5F54-D8D3-331E15DA29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B4AEEF-E0B9-0E4D-A680-3C4E3292E1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109EF-C7F4-0548-9C29-73E9FD539A2E}" type="datetimeFigureOut">
              <a:rPr lang="en-US" smtClean="0"/>
              <a:t>1/1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BE72D4-41D4-E2F3-0E47-F4C00473F1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89E61D-7126-798D-A335-B0073298D6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DD448B-C78E-F344-9E82-D2FE127895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95912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A6A1C5-9114-E3FD-920C-98BEE2FAE0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12EE24-9A18-A336-FADC-515BB33683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CBD867-BDA3-437B-E044-282943412F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109EF-C7F4-0548-9C29-73E9FD539A2E}" type="datetimeFigureOut">
              <a:rPr lang="en-US" smtClean="0"/>
              <a:t>1/1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96986D-6C42-1DC3-03CB-BE3BB07E0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BCCEFF-3972-C0F8-16EA-63A759EB3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DD448B-C78E-F344-9E82-D2FE127895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8329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23B1E1-2FF7-A1C4-A8E3-259D3DECD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B1FA30-C24F-DFB8-8450-7F878E1C1B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91F41F3-84C3-172E-CE40-96B5DED8FB8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64738A-E278-ECFC-BA48-A11A89E055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109EF-C7F4-0548-9C29-73E9FD539A2E}" type="datetimeFigureOut">
              <a:rPr lang="en-US" smtClean="0"/>
              <a:t>1/13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E76FC9-C88F-6B8F-EDF4-9911C2631F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91F967-0E2F-C9E7-BFA3-039CCB0327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DD448B-C78E-F344-9E82-D2FE127895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44680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100DE1-1CA0-0FCB-2FEB-0E123AB188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09F9B3-323D-D58C-A0D1-4BB8A2FC1E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898DB1-110C-D7AB-FDAF-6A51288B35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DF8487-7CF6-06B9-F5F0-0978434AE7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49992CD-3D2F-7371-C25E-B29D5168A86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ADC1840-41EA-AD63-7839-EC42FFD1B2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109EF-C7F4-0548-9C29-73E9FD539A2E}" type="datetimeFigureOut">
              <a:rPr lang="en-US" smtClean="0"/>
              <a:t>1/13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561036C-F0C1-E186-1419-3ABB8CABE8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DFEF77-7551-24A2-B1A7-E1C66C2452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DD448B-C78E-F344-9E82-D2FE127895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692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980ABA-8860-783E-185D-54F77DF2DB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A6C71C5-8DDA-900D-1DA2-CB2AABED17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109EF-C7F4-0548-9C29-73E9FD539A2E}" type="datetimeFigureOut">
              <a:rPr lang="en-US" smtClean="0"/>
              <a:t>1/13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29A797-96CA-95DC-AAF8-A80A372E45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2EF875-DAAA-FB78-3339-89678FF40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DD448B-C78E-F344-9E82-D2FE127895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57242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4AB610-BE73-0E9F-9EA7-041134B999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109EF-C7F4-0548-9C29-73E9FD539A2E}" type="datetimeFigureOut">
              <a:rPr lang="en-US" smtClean="0"/>
              <a:t>1/13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8A316A-2483-D8BF-75FF-6B67C57AFF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126682-BC62-F14B-4C1D-0080DBA96A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DD448B-C78E-F344-9E82-D2FE127895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5112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57B548-7C00-B3E0-2FD0-6333784DF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E8D5FC-D529-B032-7F58-AE53AE4C9C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15E797-C2EB-7AD0-4EA3-AD4ABE6D5AD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7FDAA7-08A2-4B05-3E15-200358F51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109EF-C7F4-0548-9C29-73E9FD539A2E}" type="datetimeFigureOut">
              <a:rPr lang="en-US" smtClean="0"/>
              <a:t>1/13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C035E9-27BD-1CAC-69AC-E6D39ACBCC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D48495-2CED-E729-FF8E-41C7D29652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DD448B-C78E-F344-9E82-D2FE127895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9259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754ECF-59F8-76DD-73B1-EDE22A6D05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E3E8C42-E104-0989-87BD-85AF384ABE7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6F05B28-547E-D68F-61E6-20F830CF24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8F3D547-9E86-EE93-5894-FD0A0C7B37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109EF-C7F4-0548-9C29-73E9FD539A2E}" type="datetimeFigureOut">
              <a:rPr lang="en-US" smtClean="0"/>
              <a:t>1/13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E708B33-1FE9-529B-1B1A-9810717229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017981-983E-69E9-1D43-959E193B2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DD448B-C78E-F344-9E82-D2FE127895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63054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55588DE-20DB-87F6-B40E-897DBE509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5C1625-D996-449C-EC3E-E408E478E0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16C2E2-AA02-0E89-E4C8-B7314690C3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4109EF-C7F4-0548-9C29-73E9FD539A2E}" type="datetimeFigureOut">
              <a:rPr lang="en-US" smtClean="0"/>
              <a:t>1/1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FEB3AF-3F27-6D01-C425-08A9F61225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976B52-6BFB-D4BC-03C2-D573F3F93B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DD448B-C78E-F344-9E82-D2FE127895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737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6F5A5072-7B47-4D32-B52A-4EBBF590B8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15DAF0-AE1B-46C9-8A6B-DB2AA05AB9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2" y="-22693"/>
            <a:ext cx="12191999" cy="4374129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rgbClr val="000000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016219D-510E-4184-9090-6D5578A87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3908719" y="-3931841"/>
            <a:ext cx="4374557" cy="12192000"/>
          </a:xfrm>
          <a:prstGeom prst="rect">
            <a:avLst/>
          </a:prstGeom>
          <a:gradFill>
            <a:gsLst>
              <a:gs pos="40000">
                <a:schemeClr val="accent1">
                  <a:alpha val="0"/>
                </a:schemeClr>
              </a:gs>
              <a:gs pos="100000">
                <a:schemeClr val="accent1">
                  <a:lumMod val="75000"/>
                  <a:alpha val="52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FF4A713-7B75-4B21-90D7-5AB19547C7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136696" y="-3703868"/>
            <a:ext cx="4374128" cy="11736479"/>
          </a:xfrm>
          <a:prstGeom prst="rect">
            <a:avLst/>
          </a:prstGeom>
          <a:gradFill>
            <a:gsLst>
              <a:gs pos="17000">
                <a:schemeClr val="accent1">
                  <a:alpha val="0"/>
                </a:schemeClr>
              </a:gs>
              <a:gs pos="100000">
                <a:srgbClr val="000000">
                  <a:alpha val="37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C631C0B-6DA6-4E57-8231-CE32B3434A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5" y="-22690"/>
            <a:ext cx="8542485" cy="4374126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  <a:alpha val="0"/>
                </a:schemeClr>
              </a:gs>
              <a:gs pos="100000">
                <a:srgbClr val="000000">
                  <a:alpha val="25000"/>
                </a:srgb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29501E6-A978-4A61-9689-9085AF97A5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2508972">
            <a:off x="5945431" y="-1032053"/>
            <a:ext cx="4990147" cy="4439131"/>
          </a:xfrm>
          <a:custGeom>
            <a:avLst/>
            <a:gdLst>
              <a:gd name="connsiteX0" fmla="*/ 4990147 w 4990147"/>
              <a:gd name="connsiteY0" fmla="*/ 2229378 h 4439131"/>
              <a:gd name="connsiteX1" fmla="*/ 917384 w 4990147"/>
              <a:gd name="connsiteY1" fmla="*/ 4439131 h 4439131"/>
              <a:gd name="connsiteX2" fmla="*/ 910814 w 4990147"/>
              <a:gd name="connsiteY2" fmla="*/ 4434219 h 4439131"/>
              <a:gd name="connsiteX3" fmla="*/ 0 w 4990147"/>
              <a:gd name="connsiteY3" fmla="*/ 2502877 h 4439131"/>
              <a:gd name="connsiteX4" fmla="*/ 2502877 w 4990147"/>
              <a:gd name="connsiteY4" fmla="*/ 0 h 4439131"/>
              <a:gd name="connsiteX5" fmla="*/ 4954904 w 4990147"/>
              <a:gd name="connsiteY5" fmla="*/ 1998460 h 4439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90147" h="4439131">
                <a:moveTo>
                  <a:pt x="4990147" y="2229378"/>
                </a:moveTo>
                <a:lnTo>
                  <a:pt x="917384" y="4439131"/>
                </a:lnTo>
                <a:lnTo>
                  <a:pt x="910814" y="4434219"/>
                </a:lnTo>
                <a:cubicBezTo>
                  <a:pt x="354557" y="3975154"/>
                  <a:pt x="0" y="3280421"/>
                  <a:pt x="0" y="2502877"/>
                </a:cubicBezTo>
                <a:cubicBezTo>
                  <a:pt x="0" y="1120576"/>
                  <a:pt x="1120576" y="0"/>
                  <a:pt x="2502877" y="0"/>
                </a:cubicBezTo>
                <a:cubicBezTo>
                  <a:pt x="3712390" y="0"/>
                  <a:pt x="4721520" y="857941"/>
                  <a:pt x="4954904" y="1998460"/>
                </a:cubicBezTo>
                <a:close/>
              </a:path>
            </a:pathLst>
          </a:custGeom>
          <a:gradFill>
            <a:gsLst>
              <a:gs pos="0">
                <a:schemeClr val="accent1">
                  <a:alpha val="22000"/>
                </a:schemeClr>
              </a:gs>
              <a:gs pos="87000">
                <a:schemeClr val="accent1">
                  <a:lumMod val="60000"/>
                  <a:lumOff val="40000"/>
                  <a:alpha val="2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AB522C-DB16-1BC3-9814-B4939C04E3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14824" y="735106"/>
            <a:ext cx="10053763" cy="2928470"/>
          </a:xfrm>
        </p:spPr>
        <p:txBody>
          <a:bodyPr anchor="b">
            <a:normAutofit/>
          </a:bodyPr>
          <a:lstStyle/>
          <a:p>
            <a:pPr algn="l"/>
            <a:r>
              <a:rPr lang="en-US" sz="4800" dirty="0">
                <a:solidFill>
                  <a:srgbClr val="FFFFFF"/>
                </a:solidFill>
                <a:latin typeface="Arial" panose="020B0604020202020204" pitchFamily="34" charset="0"/>
              </a:rPr>
              <a:t>IBM Capstone Project</a:t>
            </a:r>
            <a:br>
              <a:rPr lang="en-US" sz="4800" dirty="0">
                <a:solidFill>
                  <a:srgbClr val="FFFFFF"/>
                </a:solidFill>
                <a:latin typeface="Arial" panose="020B0604020202020204" pitchFamily="34" charset="0"/>
              </a:rPr>
            </a:br>
            <a:r>
              <a:rPr lang="en-US" sz="3600" dirty="0">
                <a:solidFill>
                  <a:srgbClr val="FFFFFF"/>
                </a:solidFill>
                <a:latin typeface="Arial" panose="020B0604020202020204" pitchFamily="34" charset="0"/>
              </a:rPr>
              <a:t>Census Income Dataset</a:t>
            </a:r>
            <a:br>
              <a:rPr lang="en-US" sz="3600" dirty="0">
                <a:solidFill>
                  <a:srgbClr val="FFFFFF"/>
                </a:solidFill>
                <a:latin typeface="Arial" panose="020B0604020202020204" pitchFamily="34" charset="0"/>
              </a:rPr>
            </a:br>
            <a:r>
              <a:rPr lang="en-US" sz="3600" dirty="0">
                <a:solidFill>
                  <a:srgbClr val="FFFFFF"/>
                </a:solidFill>
                <a:latin typeface="Arial" panose="020B0604020202020204" pitchFamily="34" charset="0"/>
              </a:rPr>
              <a:t>Data Science Peers Presentation</a:t>
            </a:r>
            <a:br>
              <a:rPr lang="en-US" sz="4800" dirty="0">
                <a:solidFill>
                  <a:srgbClr val="FFFFFF"/>
                </a:solidFill>
                <a:latin typeface="Arial" panose="020B0604020202020204" pitchFamily="34" charset="0"/>
              </a:rPr>
            </a:br>
            <a:endParaRPr lang="en-US" sz="4800" dirty="0">
              <a:solidFill>
                <a:srgbClr val="FFFFFF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E60339-3C68-4171-908A-800FAC28D5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50682" y="4870824"/>
            <a:ext cx="10005951" cy="1458258"/>
          </a:xfrm>
        </p:spPr>
        <p:txBody>
          <a:bodyPr anchor="ctr">
            <a:normAutofit/>
          </a:bodyPr>
          <a:lstStyle/>
          <a:p>
            <a:pPr algn="l"/>
            <a:r>
              <a:rPr lang="en-US" dirty="0"/>
              <a:t>Gonzalo Tamariz-Martel Sánchez – A20551855</a:t>
            </a:r>
          </a:p>
          <a:p>
            <a:pPr algn="l"/>
            <a:r>
              <a:rPr lang="en-US" dirty="0"/>
              <a:t>01/12/2024 </a:t>
            </a:r>
          </a:p>
        </p:txBody>
      </p:sp>
    </p:spTree>
    <p:extLst>
      <p:ext uri="{BB962C8B-B14F-4D97-AF65-F5344CB8AC3E}">
        <p14:creationId xmlns:p14="http://schemas.microsoft.com/office/powerpoint/2010/main" val="37761462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1044">
            <a:extLst>
              <a:ext uri="{FF2B5EF4-FFF2-40B4-BE49-F238E27FC236}">
                <a16:creationId xmlns:a16="http://schemas.microsoft.com/office/drawing/2014/main" id="{F99894F3-E638-6B70-1C86-22A762D12414}"/>
              </a:ext>
            </a:extLst>
          </p:cNvPr>
          <p:cNvSpPr txBox="1"/>
          <p:nvPr/>
        </p:nvSpPr>
        <p:spPr>
          <a:xfrm>
            <a:off x="383925" y="60419"/>
            <a:ext cx="6511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600" dirty="0">
                <a:solidFill>
                  <a:schemeClr val="accent1">
                    <a:lumMod val="50000"/>
                  </a:schemeClr>
                </a:solidFill>
              </a:rPr>
              <a:t>1.</a:t>
            </a:r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A245AC09-264C-DB14-23CB-089F55BFB218}"/>
              </a:ext>
            </a:extLst>
          </p:cNvPr>
          <p:cNvSpPr txBox="1">
            <a:spLocks/>
          </p:cNvSpPr>
          <p:nvPr/>
        </p:nvSpPr>
        <p:spPr>
          <a:xfrm>
            <a:off x="838200" y="-79863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1">
                    <a:lumMod val="50000"/>
                  </a:schemeClr>
                </a:solidFill>
              </a:rPr>
              <a:t>Introduction</a:t>
            </a:r>
            <a:br>
              <a:rPr lang="es-ES" sz="3200" b="1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es-ES" sz="2400" b="1" dirty="0" err="1">
                <a:solidFill>
                  <a:schemeClr val="accent1">
                    <a:lumMod val="50000"/>
                  </a:schemeClr>
                </a:solidFill>
              </a:rPr>
              <a:t>The</a:t>
            </a:r>
            <a:r>
              <a:rPr lang="es-ES" sz="24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2400" b="1" dirty="0" err="1">
                <a:solidFill>
                  <a:schemeClr val="accent1">
                    <a:lumMod val="50000"/>
                  </a:schemeClr>
                </a:solidFill>
              </a:rPr>
              <a:t>Dataset</a:t>
            </a:r>
            <a:endParaRPr lang="es-ES"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9" name="Título 1">
            <a:extLst>
              <a:ext uri="{FF2B5EF4-FFF2-40B4-BE49-F238E27FC236}">
                <a16:creationId xmlns:a16="http://schemas.microsoft.com/office/drawing/2014/main" id="{D3382ABE-77AF-61AE-BB1E-4D9F49BD7EF2}"/>
              </a:ext>
            </a:extLst>
          </p:cNvPr>
          <p:cNvSpPr txBox="1">
            <a:spLocks/>
          </p:cNvSpPr>
          <p:nvPr/>
        </p:nvSpPr>
        <p:spPr>
          <a:xfrm>
            <a:off x="990600" y="996987"/>
            <a:ext cx="10515600" cy="749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ea typeface="+mj-lt"/>
                <a:cs typeface="+mj-lt"/>
              </a:rPr>
              <a:t>The Dataset</a:t>
            </a:r>
            <a:r>
              <a:rPr lang="en-US" sz="1600" b="1" baseline="30000" dirty="0">
                <a:solidFill>
                  <a:schemeClr val="accent1">
                    <a:lumMod val="50000"/>
                  </a:schemeClr>
                </a:solidFill>
                <a:ea typeface="+mj-lt"/>
                <a:cs typeface="+mj-lt"/>
              </a:rPr>
              <a:t>1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ea typeface="+mj-lt"/>
                <a:cs typeface="+mj-lt"/>
              </a:rPr>
              <a:t> contains information about census data such as education, </a:t>
            </a:r>
            <a:r>
              <a:rPr lang="en-US" sz="1600" b="1" dirty="0" err="1">
                <a:solidFill>
                  <a:schemeClr val="accent1">
                    <a:lumMod val="50000"/>
                  </a:schemeClr>
                </a:solidFill>
                <a:ea typeface="+mj-lt"/>
                <a:cs typeface="+mj-lt"/>
              </a:rPr>
              <a:t>workclass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ea typeface="+mj-lt"/>
                <a:cs typeface="+mj-lt"/>
              </a:rPr>
              <a:t>, marital status, occupation, etc. Below it is shown the distribution of some variables. Also, we have the distribution of the label class indicating weather an adult income is greater than $50K/</a:t>
            </a:r>
            <a:r>
              <a:rPr lang="en-US" sz="1600" b="1" dirty="0" err="1">
                <a:solidFill>
                  <a:schemeClr val="accent1">
                    <a:lumMod val="50000"/>
                  </a:schemeClr>
                </a:solidFill>
                <a:ea typeface="+mj-lt"/>
                <a:cs typeface="+mj-lt"/>
              </a:rPr>
              <a:t>yr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ea typeface="+mj-lt"/>
                <a:cs typeface="+mj-lt"/>
              </a:rPr>
              <a:t> or lower </a:t>
            </a:r>
            <a:endParaRPr lang="es-ES" b="1" dirty="0">
              <a:solidFill>
                <a:schemeClr val="accent1">
                  <a:lumMod val="50000"/>
                </a:schemeClr>
              </a:solidFill>
              <a:ea typeface="+mj-lt"/>
              <a:cs typeface="+mj-lt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59318DE3-3099-2507-8E36-274573D8CF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01799" y="1902842"/>
            <a:ext cx="3903625" cy="203026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F96FFB5-1311-F10F-42E7-20966BC847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1797" y="4144114"/>
            <a:ext cx="3903625" cy="203026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A86B40AB-0249-51EA-AC5D-C1F12A9A31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2513" y="1902842"/>
            <a:ext cx="3878708" cy="202718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FF8EB9DE-460C-09FF-AC19-EA8D83F38C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5081" y="4144114"/>
            <a:ext cx="3903625" cy="203025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2F42E55-121A-9909-92B7-7689B6C5EC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22037" y="2325300"/>
            <a:ext cx="3374882" cy="320944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364D4BA-ED74-B4A4-1B33-8C9765272E13}"/>
              </a:ext>
            </a:extLst>
          </p:cNvPr>
          <p:cNvSpPr txBox="1"/>
          <p:nvPr/>
        </p:nvSpPr>
        <p:spPr>
          <a:xfrm>
            <a:off x="383925" y="6590474"/>
            <a:ext cx="856507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algn="l"/>
            <a:r>
              <a:rPr lang="en-US" sz="800" b="0" i="1" u="none" strike="noStrike" baseline="3000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1</a:t>
            </a:r>
            <a:r>
              <a:rPr lang="en-US" sz="800" b="0" i="1" u="none" strike="noStrike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UCI Machine Learning Repository</a:t>
            </a:r>
            <a:r>
              <a:rPr lang="en-US" sz="800" b="0" i="0" u="none" strike="noStrike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. (s. f.). https://</a:t>
            </a:r>
            <a:r>
              <a:rPr lang="en-US" sz="800" b="0" i="0" u="none" strike="noStrike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archive.ics.uci.edu</a:t>
            </a:r>
            <a:r>
              <a:rPr lang="en-US" sz="800" b="0" i="0" u="none" strike="noStrike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/dataset/2/adult</a:t>
            </a:r>
          </a:p>
        </p:txBody>
      </p:sp>
    </p:spTree>
    <p:extLst>
      <p:ext uri="{BB962C8B-B14F-4D97-AF65-F5344CB8AC3E}">
        <p14:creationId xmlns:p14="http://schemas.microsoft.com/office/powerpoint/2010/main" val="23560498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75DA2935-6A8B-B3B9-DCE1-2269D35CA060}"/>
              </a:ext>
            </a:extLst>
          </p:cNvPr>
          <p:cNvSpPr/>
          <p:nvPr/>
        </p:nvSpPr>
        <p:spPr>
          <a:xfrm>
            <a:off x="6723660" y="2019366"/>
            <a:ext cx="4782540" cy="4589252"/>
          </a:xfrm>
          <a:prstGeom prst="rect">
            <a:avLst/>
          </a:prstGeom>
          <a:solidFill>
            <a:srgbClr val="DAE3F3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A6A5A78-CE07-E0A1-6B95-1E6CCB8F1C35}"/>
              </a:ext>
            </a:extLst>
          </p:cNvPr>
          <p:cNvSpPr/>
          <p:nvPr/>
        </p:nvSpPr>
        <p:spPr>
          <a:xfrm>
            <a:off x="835910" y="2019365"/>
            <a:ext cx="4782541" cy="4589251"/>
          </a:xfrm>
          <a:prstGeom prst="rect">
            <a:avLst/>
          </a:prstGeom>
          <a:solidFill>
            <a:srgbClr val="DAE3F3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uadroTexto 1044">
            <a:extLst>
              <a:ext uri="{FF2B5EF4-FFF2-40B4-BE49-F238E27FC236}">
                <a16:creationId xmlns:a16="http://schemas.microsoft.com/office/drawing/2014/main" id="{A8DD9083-DD59-16C1-7877-66A92E2D2C4C}"/>
              </a:ext>
            </a:extLst>
          </p:cNvPr>
          <p:cNvSpPr txBox="1"/>
          <p:nvPr/>
        </p:nvSpPr>
        <p:spPr>
          <a:xfrm>
            <a:off x="383925" y="60419"/>
            <a:ext cx="6511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600" dirty="0">
                <a:solidFill>
                  <a:schemeClr val="accent1">
                    <a:lumMod val="50000"/>
                  </a:schemeClr>
                </a:solidFill>
              </a:rPr>
              <a:t>2.</a:t>
            </a:r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09792244-E1DD-1618-0649-33FEED79483C}"/>
              </a:ext>
            </a:extLst>
          </p:cNvPr>
          <p:cNvSpPr txBox="1">
            <a:spLocks/>
          </p:cNvSpPr>
          <p:nvPr/>
        </p:nvSpPr>
        <p:spPr>
          <a:xfrm>
            <a:off x="838200" y="-79863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1">
                    <a:lumMod val="50000"/>
                  </a:schemeClr>
                </a:solidFill>
              </a:rPr>
              <a:t>Understanding</a:t>
            </a:r>
            <a:br>
              <a:rPr lang="es-ES" sz="3200" b="1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es-ES" sz="2400" b="1" dirty="0">
                <a:solidFill>
                  <a:schemeClr val="accent1">
                    <a:lumMod val="50000"/>
                  </a:schemeClr>
                </a:solidFill>
              </a:rPr>
              <a:t>Use Case – </a:t>
            </a:r>
            <a:r>
              <a:rPr lang="es-ES" sz="2400" b="1" dirty="0" err="1">
                <a:solidFill>
                  <a:schemeClr val="accent1">
                    <a:lumMod val="50000"/>
                  </a:schemeClr>
                </a:solidFill>
              </a:rPr>
              <a:t>Prediction</a:t>
            </a:r>
            <a:r>
              <a:rPr lang="es-ES" sz="24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2400" b="1" dirty="0" err="1">
                <a:solidFill>
                  <a:schemeClr val="accent1">
                    <a:lumMod val="50000"/>
                  </a:schemeClr>
                </a:solidFill>
              </a:rPr>
              <a:t>of</a:t>
            </a:r>
            <a:r>
              <a:rPr lang="es-ES" sz="24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2400" b="1" dirty="0" err="1">
                <a:solidFill>
                  <a:schemeClr val="accent1">
                    <a:lumMod val="50000"/>
                  </a:schemeClr>
                </a:solidFill>
              </a:rPr>
              <a:t>Income</a:t>
            </a:r>
            <a:endParaRPr lang="es-ES"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" name="Título 1">
            <a:extLst>
              <a:ext uri="{FF2B5EF4-FFF2-40B4-BE49-F238E27FC236}">
                <a16:creationId xmlns:a16="http://schemas.microsoft.com/office/drawing/2014/main" id="{DB63F103-F401-F83F-8EAB-1AB598D8004A}"/>
              </a:ext>
            </a:extLst>
          </p:cNvPr>
          <p:cNvSpPr txBox="1">
            <a:spLocks/>
          </p:cNvSpPr>
          <p:nvPr/>
        </p:nvSpPr>
        <p:spPr>
          <a:xfrm>
            <a:off x="990600" y="996987"/>
            <a:ext cx="10515600" cy="749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The use case is predicting </a:t>
            </a:r>
            <a:r>
              <a:rPr lang="en-US" sz="1600" b="1" dirty="0" err="1">
                <a:solidFill>
                  <a:schemeClr val="accent1">
                    <a:lumMod val="50000"/>
                  </a:schemeClr>
                </a:solidFill>
              </a:rPr>
              <a:t>wether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 income </a:t>
            </a:r>
            <a:r>
              <a:rPr lang="en-US" sz="1600" b="0" i="0" u="none" strike="noStrike" dirty="0">
                <a:solidFill>
                  <a:srgbClr val="3C4043"/>
                </a:solidFill>
                <a:effectLst/>
                <a:latin typeface="Inter"/>
              </a:rPr>
              <a:t>whether income exceeds $50K/</a:t>
            </a:r>
            <a:r>
              <a:rPr lang="en-US" sz="1600" b="0" i="0" u="none" strike="noStrike" dirty="0" err="1">
                <a:solidFill>
                  <a:srgbClr val="3C4043"/>
                </a:solidFill>
                <a:effectLst/>
                <a:latin typeface="Inter"/>
              </a:rPr>
              <a:t>yr</a:t>
            </a:r>
            <a:r>
              <a:rPr lang="en-US" sz="1600" b="0" i="0" u="none" strike="noStrike" dirty="0">
                <a:solidFill>
                  <a:srgbClr val="3C4043"/>
                </a:solidFill>
                <a:effectLst/>
                <a:latin typeface="Inter"/>
              </a:rPr>
              <a:t> based on census data.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es-ES" sz="1600" b="1" dirty="0">
              <a:solidFill>
                <a:schemeClr val="accent1">
                  <a:lumMod val="50000"/>
                </a:schemeClr>
              </a:solidFill>
              <a:ea typeface="+mj-lt"/>
              <a:cs typeface="+mj-lt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2EEC310E-3003-A678-14A3-CD911CE87BA9}"/>
              </a:ext>
            </a:extLst>
          </p:cNvPr>
          <p:cNvGrpSpPr/>
          <p:nvPr/>
        </p:nvGrpSpPr>
        <p:grpSpPr>
          <a:xfrm>
            <a:off x="1886051" y="2176085"/>
            <a:ext cx="2885404" cy="2388902"/>
            <a:chOff x="1989288" y="2176085"/>
            <a:chExt cx="2885404" cy="2388902"/>
          </a:xfrm>
        </p:grpSpPr>
        <p:sp>
          <p:nvSpPr>
            <p:cNvPr id="2" name="Rectángulo 1">
              <a:extLst>
                <a:ext uri="{FF2B5EF4-FFF2-40B4-BE49-F238E27FC236}">
                  <a16:creationId xmlns:a16="http://schemas.microsoft.com/office/drawing/2014/main" id="{DFC54628-97C9-5564-F34A-2041F2E312C2}"/>
                </a:ext>
              </a:extLst>
            </p:cNvPr>
            <p:cNvSpPr/>
            <p:nvPr/>
          </p:nvSpPr>
          <p:spPr>
            <a:xfrm>
              <a:off x="2484632" y="3229051"/>
              <a:ext cx="1451176" cy="649218"/>
            </a:xfrm>
            <a:prstGeom prst="rect">
              <a:avLst/>
            </a:prstGeom>
            <a:solidFill>
              <a:srgbClr val="44546A"/>
            </a:solidFill>
            <a:ln w="6350" algn="ctr">
              <a:noFill/>
              <a:round/>
              <a:headEnd/>
              <a:tailEnd/>
            </a:ln>
          </p:spPr>
          <p:txBody>
            <a:bodyPr lIns="88900" tIns="88900" rIns="88900" bIns="8890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s-ES" sz="2000">
                  <a:solidFill>
                    <a:schemeClr val="bg1"/>
                  </a:solidFill>
                  <a:ea typeface="ＭＳ Ｐゴシック"/>
                </a:rPr>
                <a:t>CLASSIFIER</a:t>
              </a:r>
            </a:p>
          </p:txBody>
        </p:sp>
        <p:cxnSp>
          <p:nvCxnSpPr>
            <p:cNvPr id="13" name="Conector recto de flecha 12">
              <a:extLst>
                <a:ext uri="{FF2B5EF4-FFF2-40B4-BE49-F238E27FC236}">
                  <a16:creationId xmlns:a16="http://schemas.microsoft.com/office/drawing/2014/main" id="{0CCA76F9-838B-96D2-53E3-C6A81A3662ED}"/>
                </a:ext>
              </a:extLst>
            </p:cNvPr>
            <p:cNvCxnSpPr/>
            <p:nvPr/>
          </p:nvCxnSpPr>
          <p:spPr>
            <a:xfrm>
              <a:off x="3210220" y="2932239"/>
              <a:ext cx="2757" cy="271081"/>
            </a:xfrm>
            <a:prstGeom prst="straightConnector1">
              <a:avLst/>
            </a:prstGeom>
            <a:ln w="28575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CuadroTexto 10">
              <a:extLst>
                <a:ext uri="{FF2B5EF4-FFF2-40B4-BE49-F238E27FC236}">
                  <a16:creationId xmlns:a16="http://schemas.microsoft.com/office/drawing/2014/main" id="{9AD3C5C7-116F-B230-72CE-E9AE1F772908}"/>
                </a:ext>
              </a:extLst>
            </p:cNvPr>
            <p:cNvSpPr txBox="1"/>
            <p:nvPr/>
          </p:nvSpPr>
          <p:spPr>
            <a:xfrm>
              <a:off x="1989288" y="4164877"/>
              <a:ext cx="1076616" cy="400110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ES" sz="2000" b="1" dirty="0">
                  <a:solidFill>
                    <a:srgbClr val="203864"/>
                  </a:solidFill>
                  <a:latin typeface="Calibri Light"/>
                  <a:ea typeface="Calibri Light"/>
                  <a:cs typeface="Calibri Light"/>
                </a:rPr>
                <a:t>&lt;= $50K</a:t>
              </a:r>
            </a:p>
          </p:txBody>
        </p:sp>
        <p:sp>
          <p:nvSpPr>
            <p:cNvPr id="15" name="CuadroTexto 11">
              <a:extLst>
                <a:ext uri="{FF2B5EF4-FFF2-40B4-BE49-F238E27FC236}">
                  <a16:creationId xmlns:a16="http://schemas.microsoft.com/office/drawing/2014/main" id="{4F30FE1B-4376-CF52-892B-F1C25F286A6D}"/>
                </a:ext>
              </a:extLst>
            </p:cNvPr>
            <p:cNvSpPr txBox="1"/>
            <p:nvPr/>
          </p:nvSpPr>
          <p:spPr>
            <a:xfrm>
              <a:off x="3153046" y="4137659"/>
              <a:ext cx="1721646" cy="400110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ES" sz="2000" b="1" dirty="0">
                  <a:solidFill>
                    <a:srgbClr val="203864"/>
                  </a:solidFill>
                  <a:latin typeface="Calibri Light"/>
                  <a:ea typeface="Calibri Light"/>
                  <a:cs typeface="Calibri Light"/>
                </a:rPr>
                <a:t>&gt; $50K</a:t>
              </a:r>
            </a:p>
          </p:txBody>
        </p:sp>
        <p:sp>
          <p:nvSpPr>
            <p:cNvPr id="16" name="CuadroTexto 12">
              <a:extLst>
                <a:ext uri="{FF2B5EF4-FFF2-40B4-BE49-F238E27FC236}">
                  <a16:creationId xmlns:a16="http://schemas.microsoft.com/office/drawing/2014/main" id="{1AE57EDC-C1A2-325E-BE2E-49FF7693D821}"/>
                </a:ext>
              </a:extLst>
            </p:cNvPr>
            <p:cNvSpPr txBox="1"/>
            <p:nvPr/>
          </p:nvSpPr>
          <p:spPr>
            <a:xfrm>
              <a:off x="2133009" y="2176085"/>
              <a:ext cx="2196264" cy="400110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ES" sz="2000" b="1" dirty="0" err="1">
                  <a:solidFill>
                    <a:srgbClr val="203864"/>
                  </a:solidFill>
                  <a:latin typeface="Calibri Light"/>
                  <a:ea typeface="Calibri Light"/>
                  <a:cs typeface="Calibri Light"/>
                </a:rPr>
                <a:t>Adult</a:t>
              </a:r>
              <a:r>
                <a:rPr lang="es-ES" sz="2000" b="1" dirty="0">
                  <a:solidFill>
                    <a:srgbClr val="203864"/>
                  </a:solidFill>
                  <a:latin typeface="Calibri Light"/>
                  <a:ea typeface="Calibri Light"/>
                  <a:cs typeface="Calibri Light"/>
                </a:rPr>
                <a:t> </a:t>
              </a:r>
              <a:r>
                <a:rPr lang="es-ES" sz="2000" b="1" dirty="0" err="1">
                  <a:solidFill>
                    <a:srgbClr val="203864"/>
                  </a:solidFill>
                  <a:latin typeface="Calibri Light"/>
                  <a:ea typeface="Calibri Light"/>
                  <a:cs typeface="Calibri Light"/>
                </a:rPr>
                <a:t>Census</a:t>
              </a:r>
              <a:r>
                <a:rPr lang="es-ES" sz="2000" b="1" dirty="0">
                  <a:solidFill>
                    <a:srgbClr val="203864"/>
                  </a:solidFill>
                  <a:latin typeface="Calibri Light"/>
                  <a:ea typeface="Calibri Light"/>
                  <a:cs typeface="Calibri Light"/>
                </a:rPr>
                <a:t> Data</a:t>
              </a:r>
            </a:p>
          </p:txBody>
        </p:sp>
        <p:cxnSp>
          <p:nvCxnSpPr>
            <p:cNvPr id="21" name="Conector recto de flecha 20">
              <a:extLst>
                <a:ext uri="{FF2B5EF4-FFF2-40B4-BE49-F238E27FC236}">
                  <a16:creationId xmlns:a16="http://schemas.microsoft.com/office/drawing/2014/main" id="{B4A2A7F8-1184-8681-6394-AC172D798C50}"/>
                </a:ext>
              </a:extLst>
            </p:cNvPr>
            <p:cNvCxnSpPr>
              <a:cxnSpLocks/>
            </p:cNvCxnSpPr>
            <p:nvPr/>
          </p:nvCxnSpPr>
          <p:spPr>
            <a:xfrm>
              <a:off x="3638117" y="3888398"/>
              <a:ext cx="238202" cy="240916"/>
            </a:xfrm>
            <a:prstGeom prst="straightConnector1">
              <a:avLst/>
            </a:prstGeom>
            <a:ln w="28575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ector recto de flecha 21">
              <a:extLst>
                <a:ext uri="{FF2B5EF4-FFF2-40B4-BE49-F238E27FC236}">
                  <a16:creationId xmlns:a16="http://schemas.microsoft.com/office/drawing/2014/main" id="{665B4B17-07EB-9B55-2C3A-65BBE4AF2A7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04915" y="3888398"/>
              <a:ext cx="237744" cy="237744"/>
            </a:xfrm>
            <a:prstGeom prst="straightConnector1">
              <a:avLst/>
            </a:prstGeom>
            <a:ln w="28575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01F37C79-7F41-BDE3-CB55-379EB7CEE17F}"/>
              </a:ext>
            </a:extLst>
          </p:cNvPr>
          <p:cNvSpPr/>
          <p:nvPr/>
        </p:nvSpPr>
        <p:spPr>
          <a:xfrm>
            <a:off x="6871138" y="5212772"/>
            <a:ext cx="4498848" cy="13923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400" b="0" i="0" u="none" strike="noStrike" dirty="0">
                <a:solidFill>
                  <a:schemeClr val="tx1"/>
                </a:solidFill>
                <a:effectLst/>
                <a:latin typeface="Söhne"/>
              </a:rPr>
              <a:t>A </a:t>
            </a:r>
            <a:r>
              <a:rPr lang="en-US" sz="1400" b="1" i="0" u="none" strike="noStrike" dirty="0">
                <a:solidFill>
                  <a:schemeClr val="tx1"/>
                </a:solidFill>
                <a:effectLst/>
                <a:latin typeface="Söhne"/>
              </a:rPr>
              <a:t>dataset</a:t>
            </a:r>
            <a:r>
              <a:rPr lang="en-US" sz="1400" b="0" i="0" u="none" strike="noStrike" dirty="0">
                <a:solidFill>
                  <a:schemeClr val="tx1"/>
                </a:solidFill>
                <a:effectLst/>
                <a:latin typeface="Söhne"/>
              </a:rPr>
              <a:t> is vital for training our ML Classifier model as it forms the basis for </a:t>
            </a:r>
            <a:r>
              <a:rPr lang="en-US" sz="1400" b="1" i="0" u="none" strike="noStrike" dirty="0">
                <a:solidFill>
                  <a:schemeClr val="tx1"/>
                </a:solidFill>
                <a:effectLst/>
                <a:latin typeface="Söhne"/>
              </a:rPr>
              <a:t>teaching the model to differentiate between adults with income greater than </a:t>
            </a:r>
            <a:r>
              <a:rPr lang="en-US" sz="1400" b="1" i="0" u="none" strike="noStrike" dirty="0">
                <a:solidFill>
                  <a:srgbClr val="3C4043"/>
                </a:solidFill>
                <a:effectLst/>
                <a:latin typeface="Inter"/>
              </a:rPr>
              <a:t>$50K/</a:t>
            </a:r>
            <a:r>
              <a:rPr lang="en-US" sz="1400" b="1" i="0" u="none" strike="noStrike" dirty="0" err="1">
                <a:solidFill>
                  <a:srgbClr val="3C4043"/>
                </a:solidFill>
                <a:effectLst/>
                <a:latin typeface="Inter"/>
              </a:rPr>
              <a:t>yr</a:t>
            </a:r>
            <a:r>
              <a:rPr lang="en-US" sz="1400" b="1" i="0" u="none" strike="noStrike" dirty="0">
                <a:solidFill>
                  <a:srgbClr val="3C4043"/>
                </a:solidFill>
                <a:effectLst/>
                <a:latin typeface="Inter"/>
              </a:rPr>
              <a:t> or lower</a:t>
            </a:r>
            <a:r>
              <a:rPr lang="en-US" sz="1400" b="1" i="0" u="none" strike="noStrike" dirty="0">
                <a:solidFill>
                  <a:schemeClr val="tx1"/>
                </a:solidFill>
                <a:effectLst/>
                <a:latin typeface="Söhne"/>
              </a:rPr>
              <a:t> </a:t>
            </a:r>
            <a:r>
              <a:rPr lang="en-US" sz="1400" b="0" i="0" u="none" strike="noStrike" dirty="0">
                <a:solidFill>
                  <a:schemeClr val="tx1"/>
                </a:solidFill>
                <a:effectLst/>
                <a:latin typeface="Söhne"/>
              </a:rPr>
              <a:t>by learning distinctive patterns and features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1FC5E1B-345E-2356-3F68-FEDF486463BD}"/>
              </a:ext>
            </a:extLst>
          </p:cNvPr>
          <p:cNvSpPr/>
          <p:nvPr/>
        </p:nvSpPr>
        <p:spPr>
          <a:xfrm>
            <a:off x="835910" y="1744408"/>
            <a:ext cx="4782541" cy="274958"/>
          </a:xfrm>
          <a:prstGeom prst="rect">
            <a:avLst/>
          </a:prstGeom>
          <a:solidFill>
            <a:srgbClr val="43536A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Model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E78B1AA-8598-C219-B088-6940CBE13AD6}"/>
              </a:ext>
            </a:extLst>
          </p:cNvPr>
          <p:cNvSpPr/>
          <p:nvPr/>
        </p:nvSpPr>
        <p:spPr>
          <a:xfrm>
            <a:off x="6723659" y="1744408"/>
            <a:ext cx="4782541" cy="274958"/>
          </a:xfrm>
          <a:prstGeom prst="rect">
            <a:avLst/>
          </a:prstGeom>
          <a:solidFill>
            <a:srgbClr val="43536A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Dataset</a:t>
            </a:r>
          </a:p>
        </p:txBody>
      </p:sp>
      <p:sp>
        <p:nvSpPr>
          <p:cNvPr id="39" name="Plus 38">
            <a:extLst>
              <a:ext uri="{FF2B5EF4-FFF2-40B4-BE49-F238E27FC236}">
                <a16:creationId xmlns:a16="http://schemas.microsoft.com/office/drawing/2014/main" id="{8AC2E5F6-3679-5F1F-A6F1-3ED03DD4CF9F}"/>
              </a:ext>
            </a:extLst>
          </p:cNvPr>
          <p:cNvSpPr/>
          <p:nvPr/>
        </p:nvSpPr>
        <p:spPr>
          <a:xfrm>
            <a:off x="5691272" y="3519916"/>
            <a:ext cx="914400" cy="914400"/>
          </a:xfrm>
          <a:prstGeom prst="mathPlus">
            <a:avLst/>
          </a:prstGeom>
          <a:solidFill>
            <a:srgbClr val="44546A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4D286C9-8756-6509-4659-B37BCC2CF4A5}"/>
              </a:ext>
            </a:extLst>
          </p:cNvPr>
          <p:cNvSpPr/>
          <p:nvPr/>
        </p:nvSpPr>
        <p:spPr>
          <a:xfrm>
            <a:off x="990600" y="5212772"/>
            <a:ext cx="4495800" cy="13923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400" b="0" i="0" u="none" strike="noStrike" dirty="0">
                <a:solidFill>
                  <a:schemeClr val="tx1"/>
                </a:solidFill>
                <a:effectLst/>
                <a:latin typeface="Söhne"/>
              </a:rPr>
              <a:t>The </a:t>
            </a:r>
            <a:r>
              <a:rPr lang="en-US" sz="1400" b="1" i="0" u="none" strike="noStrike" dirty="0">
                <a:solidFill>
                  <a:schemeClr val="tx1"/>
                </a:solidFill>
                <a:effectLst/>
                <a:latin typeface="Söhne"/>
              </a:rPr>
              <a:t>classification model </a:t>
            </a:r>
            <a:r>
              <a:rPr lang="en-US" sz="1400" b="0" i="0" u="none" strike="noStrike" dirty="0">
                <a:solidFill>
                  <a:schemeClr val="tx1"/>
                </a:solidFill>
                <a:effectLst/>
                <a:latin typeface="Söhne"/>
              </a:rPr>
              <a:t>is crucial for predicting </a:t>
            </a:r>
            <a:r>
              <a:rPr lang="en-US" sz="1400" b="0" i="0" u="none" strike="noStrike" dirty="0">
                <a:solidFill>
                  <a:srgbClr val="3C4043"/>
                </a:solidFill>
                <a:effectLst/>
                <a:latin typeface="Inter"/>
              </a:rPr>
              <a:t>whether income exceeds $50K/</a:t>
            </a:r>
            <a:r>
              <a:rPr lang="en-US" sz="1400" b="0" i="0" u="none" strike="noStrike" dirty="0" err="1">
                <a:solidFill>
                  <a:srgbClr val="3C4043"/>
                </a:solidFill>
                <a:effectLst/>
                <a:latin typeface="Inter"/>
              </a:rPr>
              <a:t>yr</a:t>
            </a:r>
            <a:r>
              <a:rPr lang="en-US" sz="1400" b="0" i="0" u="none" strike="noStrike" dirty="0">
                <a:solidFill>
                  <a:srgbClr val="3C4043"/>
                </a:solidFill>
                <a:effectLst/>
                <a:latin typeface="Inter"/>
              </a:rPr>
              <a:t> based on census data</a:t>
            </a:r>
            <a:r>
              <a:rPr lang="en-US" sz="1400" dirty="0">
                <a:solidFill>
                  <a:schemeClr val="tx1"/>
                </a:solidFill>
                <a:latin typeface="Söhne"/>
              </a:rPr>
              <a:t>. I</a:t>
            </a:r>
            <a:r>
              <a:rPr lang="en-US" sz="1400" b="0" i="0" u="none" strike="noStrike" dirty="0">
                <a:solidFill>
                  <a:schemeClr val="tx1"/>
                </a:solidFill>
                <a:effectLst/>
                <a:latin typeface="Söhne"/>
              </a:rPr>
              <a:t>t autonomously </a:t>
            </a:r>
            <a:r>
              <a:rPr lang="en-US" sz="1400" b="1" i="0" u="none" strike="noStrike" dirty="0">
                <a:solidFill>
                  <a:schemeClr val="tx1"/>
                </a:solidFill>
                <a:effectLst/>
                <a:latin typeface="Söhne"/>
              </a:rPr>
              <a:t>identifies and categorizes adults within two classes</a:t>
            </a:r>
            <a:r>
              <a:rPr lang="en-US" sz="1400" b="0" i="0" u="none" strike="noStrike" dirty="0">
                <a:solidFill>
                  <a:schemeClr val="tx1"/>
                </a:solidFill>
                <a:effectLst/>
                <a:latin typeface="Söhne"/>
              </a:rPr>
              <a:t>.</a:t>
            </a: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24" name="Graphic 23" descr="Dollar with solid fill">
            <a:extLst>
              <a:ext uri="{FF2B5EF4-FFF2-40B4-BE49-F238E27FC236}">
                <a16:creationId xmlns:a16="http://schemas.microsoft.com/office/drawing/2014/main" id="{7875441F-206C-FC9C-6296-A5657ECF8D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31676" y="4509620"/>
            <a:ext cx="274320" cy="274320"/>
          </a:xfrm>
          <a:prstGeom prst="rect">
            <a:avLst/>
          </a:prstGeom>
        </p:spPr>
      </p:pic>
      <p:pic>
        <p:nvPicPr>
          <p:cNvPr id="25" name="Graphic 24" descr="Dollar with solid fill">
            <a:extLst>
              <a:ext uri="{FF2B5EF4-FFF2-40B4-BE49-F238E27FC236}">
                <a16:creationId xmlns:a16="http://schemas.microsoft.com/office/drawing/2014/main" id="{65371E65-30B6-626B-5099-678AF42C40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84076" y="4509620"/>
            <a:ext cx="274320" cy="274320"/>
          </a:xfrm>
          <a:prstGeom prst="rect">
            <a:avLst/>
          </a:prstGeom>
        </p:spPr>
      </p:pic>
      <p:pic>
        <p:nvPicPr>
          <p:cNvPr id="26" name="Graphic 25" descr="Dollar with solid fill">
            <a:extLst>
              <a:ext uri="{FF2B5EF4-FFF2-40B4-BE49-F238E27FC236}">
                <a16:creationId xmlns:a16="http://schemas.microsoft.com/office/drawing/2014/main" id="{C04C161C-3948-EC80-2121-CF6F2C5729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36476" y="4509620"/>
            <a:ext cx="274320" cy="274320"/>
          </a:xfrm>
          <a:prstGeom prst="rect">
            <a:avLst/>
          </a:prstGeom>
        </p:spPr>
      </p:pic>
      <p:pic>
        <p:nvPicPr>
          <p:cNvPr id="27" name="Graphic 26" descr="Dollar with solid fill">
            <a:extLst>
              <a:ext uri="{FF2B5EF4-FFF2-40B4-BE49-F238E27FC236}">
                <a16:creationId xmlns:a16="http://schemas.microsoft.com/office/drawing/2014/main" id="{F66B1C47-C193-DD43-10D8-6F36A83016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88876" y="4509620"/>
            <a:ext cx="274320" cy="274320"/>
          </a:xfrm>
          <a:prstGeom prst="rect">
            <a:avLst/>
          </a:prstGeom>
        </p:spPr>
      </p:pic>
      <p:pic>
        <p:nvPicPr>
          <p:cNvPr id="28" name="Graphic 27" descr="Dollar with solid fill">
            <a:extLst>
              <a:ext uri="{FF2B5EF4-FFF2-40B4-BE49-F238E27FC236}">
                <a16:creationId xmlns:a16="http://schemas.microsoft.com/office/drawing/2014/main" id="{2DBEA310-7B3D-81FC-5BD2-3DDBE64BF4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62057" y="4521651"/>
            <a:ext cx="274320" cy="274320"/>
          </a:xfrm>
          <a:prstGeom prst="rect">
            <a:avLst/>
          </a:prstGeom>
        </p:spPr>
      </p:pic>
      <p:pic>
        <p:nvPicPr>
          <p:cNvPr id="31" name="Graphic 30" descr="Man with solid fill">
            <a:extLst>
              <a:ext uri="{FF2B5EF4-FFF2-40B4-BE49-F238E27FC236}">
                <a16:creationId xmlns:a16="http://schemas.microsoft.com/office/drawing/2014/main" id="{75DB7121-486A-E99E-06C8-D05A3C3249C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26008" y="2534876"/>
            <a:ext cx="365760" cy="36576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6D76421D-6F56-D115-56C2-3CBF10E9213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27488" y="2054169"/>
            <a:ext cx="3374882" cy="3209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9048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1044">
            <a:extLst>
              <a:ext uri="{FF2B5EF4-FFF2-40B4-BE49-F238E27FC236}">
                <a16:creationId xmlns:a16="http://schemas.microsoft.com/office/drawing/2014/main" id="{A8DD9083-DD59-16C1-7877-66A92E2D2C4C}"/>
              </a:ext>
            </a:extLst>
          </p:cNvPr>
          <p:cNvSpPr txBox="1"/>
          <p:nvPr/>
        </p:nvSpPr>
        <p:spPr>
          <a:xfrm>
            <a:off x="383925" y="60419"/>
            <a:ext cx="6511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600">
                <a:solidFill>
                  <a:schemeClr val="accent1">
                    <a:lumMod val="50000"/>
                  </a:schemeClr>
                </a:solidFill>
              </a:rPr>
              <a:t>3.</a:t>
            </a:r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09792244-E1DD-1618-0649-33FEED79483C}"/>
              </a:ext>
            </a:extLst>
          </p:cNvPr>
          <p:cNvSpPr txBox="1">
            <a:spLocks/>
          </p:cNvSpPr>
          <p:nvPr/>
        </p:nvSpPr>
        <p:spPr>
          <a:xfrm>
            <a:off x="838200" y="-79863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1">
                    <a:lumMod val="50000"/>
                  </a:schemeClr>
                </a:solidFill>
              </a:rPr>
              <a:t>Methodology (1/2)</a:t>
            </a:r>
            <a:br>
              <a:rPr lang="es-ES" sz="3200" b="1" dirty="0">
                <a:solidFill>
                  <a:schemeClr val="accent1">
                    <a:lumMod val="50000"/>
                  </a:schemeClr>
                </a:solidFill>
              </a:rPr>
            </a:br>
            <a:endParaRPr lang="es-ES"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CA2EAF9E-99CE-A894-2FC5-685F7610FB58}"/>
              </a:ext>
            </a:extLst>
          </p:cNvPr>
          <p:cNvSpPr txBox="1">
            <a:spLocks/>
          </p:cNvSpPr>
          <p:nvPr/>
        </p:nvSpPr>
        <p:spPr>
          <a:xfrm>
            <a:off x="990600" y="996987"/>
            <a:ext cx="10515600" cy="749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Utilizing a meticulous methodology and leveraging versatile, optimized libraries such as </a:t>
            </a:r>
            <a:r>
              <a:rPr lang="en-US" sz="1600" b="1" dirty="0" err="1">
                <a:solidFill>
                  <a:schemeClr val="accent1">
                    <a:lumMod val="50000"/>
                  </a:schemeClr>
                </a:solidFill>
              </a:rPr>
              <a:t>Sckit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-Learn and </a:t>
            </a:r>
            <a:r>
              <a:rPr lang="en-US" sz="1600" b="1" dirty="0" err="1">
                <a:solidFill>
                  <a:schemeClr val="accent1">
                    <a:lumMod val="50000"/>
                  </a:schemeClr>
                </a:solidFill>
              </a:rPr>
              <a:t>Tensorflow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1600" b="1" dirty="0" err="1">
                <a:solidFill>
                  <a:schemeClr val="accent1">
                    <a:lumMod val="50000"/>
                  </a:schemeClr>
                </a:solidFill>
              </a:rPr>
              <a:t>Keras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, our approach ensured robust model selection and implementation, culminating in efficient and impactful results</a:t>
            </a:r>
            <a:endParaRPr lang="es-ES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9F9F5B5-9A87-8368-98FC-2F97D9357A1C}"/>
              </a:ext>
            </a:extLst>
          </p:cNvPr>
          <p:cNvGrpSpPr/>
          <p:nvPr/>
        </p:nvGrpSpPr>
        <p:grpSpPr>
          <a:xfrm>
            <a:off x="709507" y="2823197"/>
            <a:ext cx="10769796" cy="2501371"/>
            <a:chOff x="959359" y="2823197"/>
            <a:chExt cx="10769796" cy="2501371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432B864C-6646-3051-0F19-951E5AA94C43}"/>
                </a:ext>
              </a:extLst>
            </p:cNvPr>
            <p:cNvSpPr/>
            <p:nvPr/>
          </p:nvSpPr>
          <p:spPr>
            <a:xfrm>
              <a:off x="4314472" y="4733703"/>
              <a:ext cx="1667644" cy="59086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Standard Scaler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633CA066-E4FC-4381-669A-FD58B83E182C}"/>
                </a:ext>
              </a:extLst>
            </p:cNvPr>
            <p:cNvSpPr/>
            <p:nvPr/>
          </p:nvSpPr>
          <p:spPr>
            <a:xfrm>
              <a:off x="4314472" y="4110276"/>
              <a:ext cx="1667644" cy="59086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400" dirty="0"/>
                <a:t>One-Hot-Encoding</a:t>
              </a:r>
            </a:p>
          </p:txBody>
        </p:sp>
        <p:sp>
          <p:nvSpPr>
            <p:cNvPr id="9" name="Chevron 8">
              <a:extLst>
                <a:ext uri="{FF2B5EF4-FFF2-40B4-BE49-F238E27FC236}">
                  <a16:creationId xmlns:a16="http://schemas.microsoft.com/office/drawing/2014/main" id="{68177685-EE72-82A7-B604-DA4D8DC05392}"/>
                </a:ext>
              </a:extLst>
            </p:cNvPr>
            <p:cNvSpPr/>
            <p:nvPr/>
          </p:nvSpPr>
          <p:spPr bwMode="ltGray">
            <a:xfrm>
              <a:off x="4332236" y="2823197"/>
              <a:ext cx="2002536" cy="1228857"/>
            </a:xfrm>
            <a:prstGeom prst="chevron">
              <a:avLst>
                <a:gd name="adj" fmla="val 31595"/>
              </a:avLst>
            </a:prstGeom>
            <a:solidFill>
              <a:srgbClr val="44546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dirty="0">
                  <a:solidFill>
                    <a:schemeClr val="bg1"/>
                  </a:solidFill>
                  <a:latin typeface="Georgia" pitchFamily="18" charset="0"/>
                </a:rPr>
                <a:t>Feature Engineering</a:t>
              </a:r>
            </a:p>
          </p:txBody>
        </p:sp>
        <p:sp>
          <p:nvSpPr>
            <p:cNvPr id="10" name="Pentagon 9">
              <a:extLst>
                <a:ext uri="{FF2B5EF4-FFF2-40B4-BE49-F238E27FC236}">
                  <a16:creationId xmlns:a16="http://schemas.microsoft.com/office/drawing/2014/main" id="{4F5D920A-29DA-DE4E-EBC2-892CD260C782}"/>
                </a:ext>
              </a:extLst>
            </p:cNvPr>
            <p:cNvSpPr/>
            <p:nvPr/>
          </p:nvSpPr>
          <p:spPr bwMode="ltGray">
            <a:xfrm>
              <a:off x="959359" y="2823197"/>
              <a:ext cx="1842066" cy="1220481"/>
            </a:xfrm>
            <a:prstGeom prst="homePlate">
              <a:avLst>
                <a:gd name="adj" fmla="val 31469"/>
              </a:avLst>
            </a:prstGeom>
            <a:solidFill>
              <a:srgbClr val="44546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>
                  <a:solidFill>
                    <a:schemeClr val="bg1"/>
                  </a:solidFill>
                  <a:latin typeface="Georgia" pitchFamily="18" charset="0"/>
                </a:rPr>
                <a:t>Data Visualization</a:t>
              </a:r>
            </a:p>
          </p:txBody>
        </p:sp>
        <p:sp>
          <p:nvSpPr>
            <p:cNvPr id="11" name="Chevron 10">
              <a:extLst>
                <a:ext uri="{FF2B5EF4-FFF2-40B4-BE49-F238E27FC236}">
                  <a16:creationId xmlns:a16="http://schemas.microsoft.com/office/drawing/2014/main" id="{A01D2FA3-083F-70DD-6B7A-DD3C39B382C3}"/>
                </a:ext>
              </a:extLst>
            </p:cNvPr>
            <p:cNvSpPr/>
            <p:nvPr/>
          </p:nvSpPr>
          <p:spPr bwMode="ltGray">
            <a:xfrm>
              <a:off x="6099121" y="2823197"/>
              <a:ext cx="2002536" cy="1228857"/>
            </a:xfrm>
            <a:prstGeom prst="chevron">
              <a:avLst>
                <a:gd name="adj" fmla="val 31595"/>
              </a:avLst>
            </a:prstGeom>
            <a:solidFill>
              <a:schemeClr val="bg2">
                <a:lumMod val="7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>
                  <a:solidFill>
                    <a:schemeClr val="bg1"/>
                  </a:solidFill>
                  <a:latin typeface="Georgia" pitchFamily="18" charset="0"/>
                </a:rPr>
                <a:t>Train and Test Splitting</a:t>
              </a:r>
            </a:p>
          </p:txBody>
        </p:sp>
        <p:sp>
          <p:nvSpPr>
            <p:cNvPr id="12" name="Chevron 11">
              <a:extLst>
                <a:ext uri="{FF2B5EF4-FFF2-40B4-BE49-F238E27FC236}">
                  <a16:creationId xmlns:a16="http://schemas.microsoft.com/office/drawing/2014/main" id="{9C796CE6-5315-DFD6-A763-170F32EBF74B}"/>
                </a:ext>
              </a:extLst>
            </p:cNvPr>
            <p:cNvSpPr/>
            <p:nvPr/>
          </p:nvSpPr>
          <p:spPr bwMode="ltGray">
            <a:xfrm>
              <a:off x="7866006" y="2823197"/>
              <a:ext cx="2002536" cy="1228857"/>
            </a:xfrm>
            <a:prstGeom prst="chevron">
              <a:avLst>
                <a:gd name="adj" fmla="val 31595"/>
              </a:avLst>
            </a:prstGeom>
            <a:solidFill>
              <a:srgbClr val="43536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>
                  <a:solidFill>
                    <a:schemeClr val="bg1"/>
                  </a:solidFill>
                  <a:latin typeface="Georgia" pitchFamily="18" charset="0"/>
                </a:rPr>
                <a:t>Model Training </a:t>
              </a:r>
            </a:p>
          </p:txBody>
        </p:sp>
        <p:sp>
          <p:nvSpPr>
            <p:cNvPr id="13" name="Chevron 12">
              <a:extLst>
                <a:ext uri="{FF2B5EF4-FFF2-40B4-BE49-F238E27FC236}">
                  <a16:creationId xmlns:a16="http://schemas.microsoft.com/office/drawing/2014/main" id="{FB02C030-A165-B91D-B906-7445F1278DB4}"/>
                </a:ext>
              </a:extLst>
            </p:cNvPr>
            <p:cNvSpPr/>
            <p:nvPr/>
          </p:nvSpPr>
          <p:spPr bwMode="ltGray">
            <a:xfrm>
              <a:off x="9632892" y="2823197"/>
              <a:ext cx="2096263" cy="1228857"/>
            </a:xfrm>
            <a:prstGeom prst="chevron">
              <a:avLst>
                <a:gd name="adj" fmla="val 31595"/>
              </a:avLst>
            </a:prstGeom>
            <a:solidFill>
              <a:schemeClr val="bg2">
                <a:lumMod val="7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1688">
                <a:spcBef>
                  <a:spcPct val="20000"/>
                </a:spcBef>
              </a:pPr>
              <a:r>
                <a:rPr lang="de-DE" sz="1400" b="1" i="1">
                  <a:solidFill>
                    <a:schemeClr val="bg1"/>
                  </a:solidFill>
                  <a:latin typeface="+mj-lt"/>
                  <a:cs typeface="Arial" charset="0"/>
                </a:rPr>
                <a:t>Model </a:t>
              </a:r>
              <a:r>
                <a:rPr lang="de-DE" sz="1400" b="1" i="1" err="1">
                  <a:solidFill>
                    <a:schemeClr val="bg1"/>
                  </a:solidFill>
                  <a:latin typeface="+mj-lt"/>
                  <a:cs typeface="Arial" charset="0"/>
                </a:rPr>
                <a:t>Testing</a:t>
              </a:r>
              <a:endParaRPr lang="de-DE" sz="1400" b="1" i="1">
                <a:solidFill>
                  <a:schemeClr val="bg1"/>
                </a:solidFill>
                <a:latin typeface="+mj-lt"/>
                <a:cs typeface="Arial" charset="0"/>
              </a:endParaRPr>
            </a:p>
            <a:p>
              <a:pPr defTabSz="801688">
                <a:spcBef>
                  <a:spcPct val="20000"/>
                </a:spcBef>
              </a:pPr>
              <a:r>
                <a:rPr lang="de-DE" sz="1100" b="1" i="1" err="1">
                  <a:solidFill>
                    <a:schemeClr val="bg1"/>
                  </a:solidFill>
                  <a:latin typeface="+mj-lt"/>
                  <a:cs typeface="Arial" charset="0"/>
                </a:rPr>
                <a:t>Metrics</a:t>
              </a:r>
              <a:r>
                <a:rPr lang="de-DE" sz="1100" b="1" i="1">
                  <a:solidFill>
                    <a:schemeClr val="bg1"/>
                  </a:solidFill>
                  <a:latin typeface="+mj-lt"/>
                  <a:cs typeface="Arial" charset="0"/>
                </a:rPr>
                <a:t> and Scores</a:t>
              </a:r>
            </a:p>
          </p:txBody>
        </p:sp>
        <p:sp>
          <p:nvSpPr>
            <p:cNvPr id="40" name="Chevron 39">
              <a:extLst>
                <a:ext uri="{FF2B5EF4-FFF2-40B4-BE49-F238E27FC236}">
                  <a16:creationId xmlns:a16="http://schemas.microsoft.com/office/drawing/2014/main" id="{F8D5F381-6EEB-C76F-C631-E328E6175432}"/>
                </a:ext>
              </a:extLst>
            </p:cNvPr>
            <p:cNvSpPr/>
            <p:nvPr/>
          </p:nvSpPr>
          <p:spPr bwMode="ltGray">
            <a:xfrm>
              <a:off x="2565774" y="2823197"/>
              <a:ext cx="2002113" cy="1228857"/>
            </a:xfrm>
            <a:prstGeom prst="chevron">
              <a:avLst>
                <a:gd name="adj" fmla="val 31595"/>
              </a:avLst>
            </a:prstGeom>
            <a:solidFill>
              <a:schemeClr val="bg2">
                <a:lumMod val="7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400" dirty="0">
                  <a:solidFill>
                    <a:schemeClr val="bg1"/>
                  </a:solidFill>
                  <a:latin typeface="Georgia" pitchFamily="18" charset="0"/>
                </a:rPr>
                <a:t>ET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741066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1044">
            <a:extLst>
              <a:ext uri="{FF2B5EF4-FFF2-40B4-BE49-F238E27FC236}">
                <a16:creationId xmlns:a16="http://schemas.microsoft.com/office/drawing/2014/main" id="{A8DD9083-DD59-16C1-7877-66A92E2D2C4C}"/>
              </a:ext>
            </a:extLst>
          </p:cNvPr>
          <p:cNvSpPr txBox="1"/>
          <p:nvPr/>
        </p:nvSpPr>
        <p:spPr>
          <a:xfrm>
            <a:off x="383925" y="60419"/>
            <a:ext cx="6511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600">
                <a:solidFill>
                  <a:schemeClr val="accent1">
                    <a:lumMod val="50000"/>
                  </a:schemeClr>
                </a:solidFill>
              </a:rPr>
              <a:t>3.</a:t>
            </a:r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09792244-E1DD-1618-0649-33FEED79483C}"/>
              </a:ext>
            </a:extLst>
          </p:cNvPr>
          <p:cNvSpPr txBox="1">
            <a:spLocks/>
          </p:cNvSpPr>
          <p:nvPr/>
        </p:nvSpPr>
        <p:spPr>
          <a:xfrm>
            <a:off x="838200" y="-79863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1">
                    <a:lumMod val="50000"/>
                  </a:schemeClr>
                </a:solidFill>
              </a:rPr>
              <a:t>Methodology (2/2)</a:t>
            </a:r>
            <a:br>
              <a:rPr lang="es-ES" sz="3200" b="1" dirty="0">
                <a:solidFill>
                  <a:schemeClr val="accent1">
                    <a:lumMod val="50000"/>
                  </a:schemeClr>
                </a:solidFill>
              </a:rPr>
            </a:br>
            <a:endParaRPr lang="es-ES"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CA2EAF9E-99CE-A894-2FC5-685F7610FB58}"/>
              </a:ext>
            </a:extLst>
          </p:cNvPr>
          <p:cNvSpPr txBox="1">
            <a:spLocks/>
          </p:cNvSpPr>
          <p:nvPr/>
        </p:nvSpPr>
        <p:spPr>
          <a:xfrm>
            <a:off x="990600" y="996987"/>
            <a:ext cx="10515600" cy="749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Utilizing a meticulous methodology and leveraging versatile, optimized libraries such as </a:t>
            </a:r>
            <a:r>
              <a:rPr lang="en-US" sz="1600" b="1" dirty="0" err="1">
                <a:solidFill>
                  <a:schemeClr val="accent1">
                    <a:lumMod val="50000"/>
                  </a:schemeClr>
                </a:solidFill>
              </a:rPr>
              <a:t>Sckit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-Learn, XGB and </a:t>
            </a:r>
            <a:r>
              <a:rPr lang="en-US" sz="1600" b="1" dirty="0" err="1">
                <a:solidFill>
                  <a:schemeClr val="accent1">
                    <a:lumMod val="50000"/>
                  </a:schemeClr>
                </a:solidFill>
              </a:rPr>
              <a:t>Tensorflow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1600" b="1" dirty="0" err="1">
                <a:solidFill>
                  <a:schemeClr val="accent1">
                    <a:lumMod val="50000"/>
                  </a:schemeClr>
                </a:solidFill>
              </a:rPr>
              <a:t>Keras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, our approach ensured robust model selection and implementation, culminating in efficient and impactful results</a:t>
            </a:r>
            <a:endParaRPr lang="es-ES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64310970-0104-E3F6-4CCF-0734B452650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38200" y="2861152"/>
            <a:ext cx="4717013" cy="2513736"/>
          </a:xfrm>
          <a:prstGeom prst="homePlate">
            <a:avLst>
              <a:gd name="adj" fmla="val 8173"/>
            </a:avLst>
          </a:prstGeom>
          <a:solidFill>
            <a:schemeClr val="bg1"/>
          </a:solidFill>
          <a:ln w="9525">
            <a:solidFill>
              <a:schemeClr val="bg2">
                <a:lumMod val="50000"/>
              </a:schemeClr>
            </a:solidFill>
          </a:ln>
        </p:spPr>
        <p:txBody>
          <a:bodyPr wrap="square" lIns="88900" tIns="88900" rIns="88900" bIns="889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</a:pPr>
            <a:r>
              <a:rPr lang="en-US" b="1" u="sng" dirty="0"/>
              <a:t>Traditional ML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en-US" dirty="0"/>
              <a:t>Random Forest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en-US" dirty="0"/>
              <a:t>Logistic Regressio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en-US" dirty="0"/>
              <a:t>Gradient Boosting Classifier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en-US" dirty="0"/>
              <a:t>KN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en-US" dirty="0" err="1"/>
              <a:t>XGBClassifier</a:t>
            </a:r>
            <a:endParaRPr lang="en-US" dirty="0"/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endParaRPr lang="en-US" dirty="0"/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q"/>
            </a:pPr>
            <a:endParaRPr lang="en-US" dirty="0"/>
          </a:p>
          <a:p>
            <a:pPr marL="171450" indent="-171450" algn="ctr">
              <a:spcBef>
                <a:spcPts val="600"/>
              </a:spcBef>
              <a:buFont typeface="Wingdings" pitchFamily="2" charset="2"/>
              <a:buChar char="q"/>
            </a:pPr>
            <a:endParaRPr lang="en-US" sz="1000" dirty="0"/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27DE29AF-073E-2ABF-5C22-8DD4605A8231}"/>
              </a:ext>
            </a:extLst>
          </p:cNvPr>
          <p:cNvSpPr txBox="1">
            <a:spLocks/>
          </p:cNvSpPr>
          <p:nvPr/>
        </p:nvSpPr>
        <p:spPr>
          <a:xfrm flipH="1">
            <a:off x="7040497" y="2861152"/>
            <a:ext cx="4717013" cy="2513736"/>
          </a:xfrm>
          <a:prstGeom prst="homePlate">
            <a:avLst>
              <a:gd name="adj" fmla="val 8173"/>
            </a:avLst>
          </a:prstGeom>
          <a:solidFill>
            <a:schemeClr val="bg1"/>
          </a:solidFill>
          <a:ln w="9525">
            <a:solidFill>
              <a:schemeClr val="bg2">
                <a:lumMod val="50000"/>
              </a:schemeClr>
            </a:solidFill>
          </a:ln>
        </p:spPr>
        <p:txBody>
          <a:bodyPr wrap="square" lIns="274320" tIns="88900" rIns="88900" bIns="889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</a:pPr>
            <a:r>
              <a:rPr lang="en-US" b="1" u="sng" dirty="0"/>
              <a:t>Deep Learning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en-US" dirty="0"/>
              <a:t>MLP</a:t>
            </a:r>
          </a:p>
          <a:p>
            <a:pPr marL="465750" lvl="1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en-US" dirty="0"/>
              <a:t>Input</a:t>
            </a:r>
          </a:p>
          <a:p>
            <a:pPr marL="465750" lvl="1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en-US" dirty="0"/>
              <a:t>Dense – 128 - </a:t>
            </a:r>
            <a:r>
              <a:rPr lang="en-US" dirty="0" err="1"/>
              <a:t>Relu</a:t>
            </a:r>
            <a:endParaRPr lang="en-US" dirty="0"/>
          </a:p>
          <a:p>
            <a:pPr marL="465750" lvl="1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en-US" dirty="0"/>
              <a:t>Dropout – 0.2</a:t>
            </a:r>
          </a:p>
          <a:p>
            <a:pPr marL="465750" lvl="1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en-US" dirty="0"/>
              <a:t>Dense – 64 - </a:t>
            </a:r>
            <a:r>
              <a:rPr lang="en-US" dirty="0" err="1"/>
              <a:t>Relu</a:t>
            </a:r>
            <a:endParaRPr lang="en-US" dirty="0"/>
          </a:p>
          <a:p>
            <a:pPr marL="465750" lvl="1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en-US" dirty="0"/>
              <a:t>Dropout – 0.2 </a:t>
            </a:r>
          </a:p>
          <a:p>
            <a:pPr marL="465750" lvl="1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en-US" dirty="0"/>
              <a:t>Dense – 1 - Sigmoid</a:t>
            </a:r>
          </a:p>
          <a:p>
            <a:pPr algn="r">
              <a:spcBef>
                <a:spcPts val="600"/>
              </a:spcBef>
            </a:pPr>
            <a:endParaRPr lang="en-US" b="1" u="sng" dirty="0"/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q"/>
            </a:pPr>
            <a:endParaRPr lang="en-US" dirty="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5CF1DB6D-6EB1-82A2-4EDF-782117FD41E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577460" y="3172696"/>
            <a:ext cx="1463040" cy="1463040"/>
          </a:xfrm>
          <a:prstGeom prst="ellipse">
            <a:avLst/>
          </a:prstGeom>
          <a:solidFill>
            <a:srgbClr val="44546A"/>
          </a:solidFill>
          <a:ln w="6350" algn="ctr">
            <a:noFill/>
            <a:round/>
            <a:headEnd/>
            <a:tailEnd/>
          </a:ln>
        </p:spPr>
        <p:txBody>
          <a:bodyPr lIns="88900" tIns="88900" rIns="88900" bIns="88900" anchor="ctr"/>
          <a:lstStyle/>
          <a:p>
            <a:pPr algn="ctr">
              <a:defRPr/>
            </a:pPr>
            <a:r>
              <a:rPr lang="en-US" sz="1400">
                <a:solidFill>
                  <a:schemeClr val="bg1"/>
                </a:solidFill>
                <a:ea typeface="ＭＳ Ｐゴシック" pitchFamily="50" charset="-128"/>
              </a:rPr>
              <a:t>Model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D2283B5-B7F7-633D-4B74-F397D940139A}"/>
              </a:ext>
            </a:extLst>
          </p:cNvPr>
          <p:cNvSpPr/>
          <p:nvPr/>
        </p:nvSpPr>
        <p:spPr>
          <a:xfrm>
            <a:off x="838201" y="2564255"/>
            <a:ext cx="10919312" cy="246844"/>
          </a:xfrm>
          <a:prstGeom prst="rect">
            <a:avLst/>
          </a:prstGeom>
          <a:solidFill>
            <a:srgbClr val="44546A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Libraries and Models</a:t>
            </a:r>
          </a:p>
        </p:txBody>
      </p:sp>
    </p:spTree>
    <p:extLst>
      <p:ext uri="{BB962C8B-B14F-4D97-AF65-F5344CB8AC3E}">
        <p14:creationId xmlns:p14="http://schemas.microsoft.com/office/powerpoint/2010/main" val="42188435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1044">
            <a:extLst>
              <a:ext uri="{FF2B5EF4-FFF2-40B4-BE49-F238E27FC236}">
                <a16:creationId xmlns:a16="http://schemas.microsoft.com/office/drawing/2014/main" id="{A8DD9083-DD59-16C1-7877-66A92E2D2C4C}"/>
              </a:ext>
            </a:extLst>
          </p:cNvPr>
          <p:cNvSpPr txBox="1"/>
          <p:nvPr/>
        </p:nvSpPr>
        <p:spPr>
          <a:xfrm>
            <a:off x="383925" y="60419"/>
            <a:ext cx="6511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600" dirty="0">
                <a:solidFill>
                  <a:schemeClr val="accent1">
                    <a:lumMod val="50000"/>
                  </a:schemeClr>
                </a:solidFill>
              </a:rPr>
              <a:t>4.</a:t>
            </a:r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09792244-E1DD-1618-0649-33FEED79483C}"/>
              </a:ext>
            </a:extLst>
          </p:cNvPr>
          <p:cNvSpPr txBox="1">
            <a:spLocks/>
          </p:cNvSpPr>
          <p:nvPr/>
        </p:nvSpPr>
        <p:spPr>
          <a:xfrm>
            <a:off x="838200" y="-79863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>
                <a:solidFill>
                  <a:schemeClr val="accent1">
                    <a:lumMod val="50000"/>
                  </a:schemeClr>
                </a:solidFill>
              </a:rPr>
              <a:t>Results</a:t>
            </a:r>
            <a:br>
              <a:rPr lang="es-ES" sz="3200" b="1">
                <a:solidFill>
                  <a:schemeClr val="accent1">
                    <a:lumMod val="50000"/>
                  </a:schemeClr>
                </a:solidFill>
              </a:rPr>
            </a:br>
            <a:r>
              <a:rPr lang="es-ES" sz="2400" b="1" err="1">
                <a:solidFill>
                  <a:schemeClr val="accent1">
                    <a:lumMod val="50000"/>
                  </a:schemeClr>
                </a:solidFill>
              </a:rPr>
              <a:t>Metrics</a:t>
            </a:r>
            <a:r>
              <a:rPr lang="es-ES" sz="2400" b="1">
                <a:solidFill>
                  <a:schemeClr val="accent1">
                    <a:lumMod val="50000"/>
                  </a:schemeClr>
                </a:solidFill>
              </a:rPr>
              <a:t> and Scores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334A7101-1D11-31C6-B5E1-5B90D6B1BEDD}"/>
              </a:ext>
            </a:extLst>
          </p:cNvPr>
          <p:cNvSpPr txBox="1">
            <a:spLocks/>
          </p:cNvSpPr>
          <p:nvPr/>
        </p:nvSpPr>
        <p:spPr>
          <a:xfrm>
            <a:off x="990600" y="928747"/>
            <a:ext cx="10515600" cy="749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s-ES" sz="1600" b="1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546A70BA-9899-85A6-F73C-0D9032F45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483649"/>
              </p:ext>
            </p:extLst>
          </p:nvPr>
        </p:nvGraphicFramePr>
        <p:xfrm>
          <a:off x="395377" y="1759096"/>
          <a:ext cx="11338560" cy="45711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08960">
                  <a:extLst>
                    <a:ext uri="{9D8B030D-6E8A-4147-A177-3AD203B41FA5}">
                      <a16:colId xmlns:a16="http://schemas.microsoft.com/office/drawing/2014/main" val="2632297624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2910469107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2747767945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1308871136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1546678063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3091424679"/>
                    </a:ext>
                  </a:extLst>
                </a:gridCol>
              </a:tblGrid>
              <a:tr h="364958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Train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Testing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>
                    <a:lnL w="12700" cmpd="sng">
                      <a:noFill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037452927"/>
                  </a:ext>
                </a:extLst>
              </a:tr>
              <a:tr h="364958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Model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Accurac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Accuracy</a:t>
                      </a:r>
                    </a:p>
                  </a:txBody>
                  <a:tcPr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Precision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Recall</a:t>
                      </a:r>
                    </a:p>
                  </a:txBody>
                  <a:tcPr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F1-Score</a:t>
                      </a: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4577536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Gradient Boosting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CC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714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615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8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4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1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094410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Random Forest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CC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00</a:t>
                      </a:r>
                      <a:endParaRPr lang="en-US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540 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8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3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1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676560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err="1">
                          <a:solidFill>
                            <a:schemeClr val="tx1"/>
                          </a:solidFill>
                        </a:rPr>
                        <a:t>XGBClassifier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CC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087 </a:t>
                      </a:r>
                      <a:endParaRPr lang="en-US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666 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0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3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1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5621531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Logistic Regressio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CC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535 </a:t>
                      </a:r>
                      <a:endParaRPr lang="en-US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468 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7 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3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0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2728082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KN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CC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553 </a:t>
                      </a:r>
                      <a:endParaRPr lang="en-US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465 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7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3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0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386406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MLP (</a:t>
                      </a:r>
                      <a:r>
                        <a:rPr lang="en-US" sz="1600" b="1" dirty="0" err="1">
                          <a:solidFill>
                            <a:schemeClr val="tx1"/>
                          </a:solidFill>
                        </a:rPr>
                        <a:t>Keras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CC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632 </a:t>
                      </a:r>
                      <a:endParaRPr lang="en-US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526 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8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3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1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8490144"/>
                  </a:ext>
                </a:extLst>
              </a:tr>
            </a:tbl>
          </a:graphicData>
        </a:graphic>
      </p:graphicFrame>
      <p:sp>
        <p:nvSpPr>
          <p:cNvPr id="5" name="Título 1">
            <a:extLst>
              <a:ext uri="{FF2B5EF4-FFF2-40B4-BE49-F238E27FC236}">
                <a16:creationId xmlns:a16="http://schemas.microsoft.com/office/drawing/2014/main" id="{9255640F-23FE-6BCA-F321-A4FD699490A3}"/>
              </a:ext>
            </a:extLst>
          </p:cNvPr>
          <p:cNvSpPr txBox="1">
            <a:spLocks/>
          </p:cNvSpPr>
          <p:nvPr/>
        </p:nvSpPr>
        <p:spPr>
          <a:xfrm>
            <a:off x="990600" y="996987"/>
            <a:ext cx="10515600" cy="749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Testing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revealed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that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using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the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Scikit-Learn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library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Random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Forest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performed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best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while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with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SPACY,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Naive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Bayes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or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SVM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excelled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depending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on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whether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Counter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Vectorization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or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TF-IDF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was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employed</a:t>
            </a:r>
            <a:endParaRPr lang="es-ES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43532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1044">
            <a:extLst>
              <a:ext uri="{FF2B5EF4-FFF2-40B4-BE49-F238E27FC236}">
                <a16:creationId xmlns:a16="http://schemas.microsoft.com/office/drawing/2014/main" id="{A8DD9083-DD59-16C1-7877-66A92E2D2C4C}"/>
              </a:ext>
            </a:extLst>
          </p:cNvPr>
          <p:cNvSpPr txBox="1"/>
          <p:nvPr/>
        </p:nvSpPr>
        <p:spPr>
          <a:xfrm>
            <a:off x="383925" y="60419"/>
            <a:ext cx="6511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600">
                <a:solidFill>
                  <a:schemeClr val="accent1">
                    <a:lumMod val="50000"/>
                  </a:schemeClr>
                </a:solidFill>
              </a:rPr>
              <a:t>5.</a:t>
            </a:r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09792244-E1DD-1618-0649-33FEED79483C}"/>
              </a:ext>
            </a:extLst>
          </p:cNvPr>
          <p:cNvSpPr txBox="1">
            <a:spLocks/>
          </p:cNvSpPr>
          <p:nvPr/>
        </p:nvSpPr>
        <p:spPr>
          <a:xfrm>
            <a:off x="838200" y="-79863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>
                <a:solidFill>
                  <a:schemeClr val="accent1">
                    <a:lumMod val="50000"/>
                  </a:schemeClr>
                </a:solidFill>
              </a:rPr>
              <a:t>Conclusion</a:t>
            </a:r>
            <a:br>
              <a:rPr lang="es-ES" sz="3200" b="1">
                <a:solidFill>
                  <a:schemeClr val="accent1">
                    <a:lumMod val="50000"/>
                  </a:schemeClr>
                </a:solidFill>
              </a:rPr>
            </a:br>
            <a:r>
              <a:rPr lang="es-ES" sz="2400" b="1">
                <a:solidFill>
                  <a:schemeClr val="accent1">
                    <a:lumMod val="50000"/>
                  </a:schemeClr>
                </a:solidFill>
              </a:rPr>
              <a:t>Comparative </a:t>
            </a:r>
            <a:r>
              <a:rPr lang="es-ES" sz="2400" b="1" err="1">
                <a:solidFill>
                  <a:schemeClr val="accent1">
                    <a:lumMod val="50000"/>
                  </a:schemeClr>
                </a:solidFill>
              </a:rPr>
              <a:t>between</a:t>
            </a:r>
            <a:r>
              <a:rPr lang="es-ES" sz="2400" b="1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2400" b="1" err="1">
                <a:solidFill>
                  <a:schemeClr val="accent1">
                    <a:lumMod val="50000"/>
                  </a:schemeClr>
                </a:solidFill>
              </a:rPr>
              <a:t>different</a:t>
            </a:r>
            <a:r>
              <a:rPr lang="es-ES" sz="2400" b="1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2400" b="1" err="1">
                <a:solidFill>
                  <a:schemeClr val="accent1">
                    <a:lumMod val="50000"/>
                  </a:schemeClr>
                </a:solidFill>
              </a:rPr>
              <a:t>models</a:t>
            </a:r>
            <a:endParaRPr lang="es-ES" sz="2400" b="1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8" name="Título 1">
            <a:extLst>
              <a:ext uri="{FF2B5EF4-FFF2-40B4-BE49-F238E27FC236}">
                <a16:creationId xmlns:a16="http://schemas.microsoft.com/office/drawing/2014/main" id="{9BFD8DDC-EE2E-77AC-F49A-38CF67E9E96E}"/>
              </a:ext>
            </a:extLst>
          </p:cNvPr>
          <p:cNvSpPr txBox="1">
            <a:spLocks/>
          </p:cNvSpPr>
          <p:nvPr/>
        </p:nvSpPr>
        <p:spPr>
          <a:xfrm>
            <a:off x="990600" y="996987"/>
            <a:ext cx="10515600" cy="749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Although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all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models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show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very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good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results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it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has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been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observed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that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the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best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predicting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models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in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our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case are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the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following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err="1">
                <a:solidFill>
                  <a:schemeClr val="accent1">
                    <a:lumMod val="50000"/>
                  </a:schemeClr>
                </a:solidFill>
              </a:rPr>
              <a:t>ones</a:t>
            </a:r>
            <a:endParaRPr lang="es-ES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F811E34-8431-EBE9-ED45-FCA52D1F5A11}"/>
              </a:ext>
            </a:extLst>
          </p:cNvPr>
          <p:cNvGrpSpPr/>
          <p:nvPr/>
        </p:nvGrpSpPr>
        <p:grpSpPr>
          <a:xfrm>
            <a:off x="2410235" y="1750190"/>
            <a:ext cx="7387712" cy="4923877"/>
            <a:chOff x="2410235" y="1561008"/>
            <a:chExt cx="7387712" cy="5163688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A042C50A-B42C-6D3C-34FA-EC3B539D7246}"/>
                </a:ext>
              </a:extLst>
            </p:cNvPr>
            <p:cNvGrpSpPr/>
            <p:nvPr/>
          </p:nvGrpSpPr>
          <p:grpSpPr>
            <a:xfrm>
              <a:off x="2410235" y="1561008"/>
              <a:ext cx="7371529" cy="5163688"/>
              <a:chOff x="1931095" y="1245700"/>
              <a:chExt cx="7371529" cy="5163688"/>
            </a:xfrm>
          </p:grpSpPr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CDEDEBC9-AEA3-7F52-C835-D838DFAC41FF}"/>
                  </a:ext>
                </a:extLst>
              </p:cNvPr>
              <p:cNvSpPr/>
              <p:nvPr/>
            </p:nvSpPr>
            <p:spPr bwMode="gray">
              <a:xfrm>
                <a:off x="3511611" y="4967353"/>
                <a:ext cx="4187190" cy="969264"/>
              </a:xfrm>
              <a:prstGeom prst="rect">
                <a:avLst/>
              </a:prstGeom>
              <a:solidFill>
                <a:schemeClr val="bg2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>
                  <a:spcAft>
                    <a:spcPts val="600"/>
                  </a:spcAft>
                </a:pPr>
                <a:r>
                  <a:rPr lang="en-US" sz="1400" b="1" dirty="0"/>
                  <a:t>Multi Layer Perceptron - </a:t>
                </a:r>
                <a:r>
                  <a:rPr lang="en-US" sz="1400" b="1" dirty="0" err="1"/>
                  <a:t>Keras</a:t>
                </a:r>
                <a:endParaRPr lang="en-US" sz="1400" b="1" dirty="0"/>
              </a:p>
              <a:p>
                <a:pPr>
                  <a:spcAft>
                    <a:spcPts val="600"/>
                  </a:spcAft>
                </a:pPr>
                <a:r>
                  <a:rPr lang="en-US" sz="1200" dirty="0"/>
                  <a:t>The </a:t>
                </a:r>
                <a:r>
                  <a:rPr lang="en-US" sz="1200" dirty="0" err="1"/>
                  <a:t>Deeplearning</a:t>
                </a:r>
                <a:r>
                  <a:rPr lang="en-US" sz="1200" dirty="0"/>
                  <a:t> model show a good accuracy and F1-Score. This model requires more computational resources than others.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B78C5B42-B4F7-8268-8115-255014D3C841}"/>
                  </a:ext>
                </a:extLst>
              </p:cNvPr>
              <p:cNvSpPr/>
              <p:nvPr/>
            </p:nvSpPr>
            <p:spPr bwMode="gray">
              <a:xfrm>
                <a:off x="1931095" y="1722503"/>
                <a:ext cx="4187190" cy="969264"/>
              </a:xfrm>
              <a:prstGeom prst="rect">
                <a:avLst/>
              </a:prstGeom>
              <a:solidFill>
                <a:schemeClr val="accent3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>
                  <a:spcAft>
                    <a:spcPts val="600"/>
                  </a:spcAft>
                </a:pPr>
                <a:r>
                  <a:rPr lang="en-US" sz="1400" b="1" dirty="0" err="1">
                    <a:solidFill>
                      <a:schemeClr val="tx1"/>
                    </a:solidFill>
                  </a:rPr>
                  <a:t>XGBClassifier</a:t>
                </a:r>
                <a:endParaRPr lang="en-US" sz="1400" b="1" dirty="0"/>
              </a:p>
              <a:p>
                <a:pPr>
                  <a:spcAft>
                    <a:spcPts val="600"/>
                  </a:spcAft>
                </a:pPr>
                <a:r>
                  <a:rPr lang="en-US" sz="1200" dirty="0"/>
                  <a:t>This model gives us the best accuracy and F1-Score. On the other hand, </a:t>
                </a:r>
                <a:r>
                  <a:rPr lang="en-US" sz="1200" b="1" dirty="0" err="1">
                    <a:solidFill>
                      <a:schemeClr val="tx1"/>
                    </a:solidFill>
                  </a:rPr>
                  <a:t>XGBClassifier</a:t>
                </a:r>
                <a:r>
                  <a:rPr lang="en-US" sz="1200" b="1" dirty="0">
                    <a:solidFill>
                      <a:schemeClr val="tx1"/>
                    </a:solidFill>
                  </a:rPr>
                  <a:t>  </a:t>
                </a:r>
                <a:r>
                  <a:rPr lang="en-US" sz="1200" b="1" dirty="0"/>
                  <a:t>memory usage is higher than Logistic Regression or KNN</a:t>
                </a:r>
                <a:r>
                  <a:rPr lang="en-US" sz="1200" dirty="0"/>
                  <a:t>. </a:t>
                </a:r>
              </a:p>
            </p:txBody>
          </p:sp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F5B66427-F28D-4682-50C9-F3537A57D3AB}"/>
                  </a:ext>
                </a:extLst>
              </p:cNvPr>
              <p:cNvSpPr/>
              <p:nvPr/>
            </p:nvSpPr>
            <p:spPr bwMode="gray">
              <a:xfrm>
                <a:off x="2706798" y="3344928"/>
                <a:ext cx="4187190" cy="969264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>
                  <a:spcAft>
                    <a:spcPts val="600"/>
                  </a:spcAft>
                </a:pPr>
                <a:r>
                  <a:rPr lang="en-US" sz="1400" b="1" dirty="0"/>
                  <a:t>Gradient Boosting Classifier</a:t>
                </a:r>
                <a:br>
                  <a:rPr lang="en-US" sz="1400" b="1" dirty="0"/>
                </a:br>
                <a:r>
                  <a:rPr lang="en-US" sz="1200" dirty="0"/>
                  <a:t>We obtain similar accuracy and F1-Score. Also, Random Forest model has similar performance in test even though it is clearly overfitted.</a:t>
                </a:r>
                <a:endParaRPr lang="en-US" sz="1400" b="1" dirty="0"/>
              </a:p>
            </p:txBody>
          </p: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919A5D46-A9CA-D26A-DEA2-F693ACF2252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096000" y="1245700"/>
                <a:ext cx="1620875" cy="1920240"/>
                <a:chOff x="3525926" y="2604211"/>
                <a:chExt cx="1887322" cy="2235900"/>
              </a:xfrm>
            </p:grpSpPr>
            <p:sp>
              <p:nvSpPr>
                <p:cNvPr id="9" name="Freeform 8">
                  <a:extLst>
                    <a:ext uri="{FF2B5EF4-FFF2-40B4-BE49-F238E27FC236}">
                      <a16:creationId xmlns:a16="http://schemas.microsoft.com/office/drawing/2014/main" id="{8D67F02B-9E32-97FF-4625-FCDF1AC0385E}"/>
                    </a:ext>
                  </a:extLst>
                </p:cNvPr>
                <p:cNvSpPr/>
                <p:nvPr/>
              </p:nvSpPr>
              <p:spPr>
                <a:xfrm>
                  <a:off x="3540557" y="2604211"/>
                  <a:ext cx="1872691" cy="1111911"/>
                </a:xfrm>
                <a:custGeom>
                  <a:avLst/>
                  <a:gdLst>
                    <a:gd name="connsiteX0" fmla="*/ 0 w 1872691"/>
                    <a:gd name="connsiteY0" fmla="*/ 555955 h 1111911"/>
                    <a:gd name="connsiteX1" fmla="*/ 914400 w 1872691"/>
                    <a:gd name="connsiteY1" fmla="*/ 0 h 1111911"/>
                    <a:gd name="connsiteX2" fmla="*/ 1872691 w 1872691"/>
                    <a:gd name="connsiteY2" fmla="*/ 555955 h 1111911"/>
                    <a:gd name="connsiteX3" fmla="*/ 929030 w 1872691"/>
                    <a:gd name="connsiteY3" fmla="*/ 1111911 h 1111911"/>
                    <a:gd name="connsiteX4" fmla="*/ 0 w 1872691"/>
                    <a:gd name="connsiteY4" fmla="*/ 555955 h 11119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72691" h="1111911">
                      <a:moveTo>
                        <a:pt x="0" y="555955"/>
                      </a:moveTo>
                      <a:lnTo>
                        <a:pt x="914400" y="0"/>
                      </a:lnTo>
                      <a:lnTo>
                        <a:pt x="1872691" y="555955"/>
                      </a:lnTo>
                      <a:lnTo>
                        <a:pt x="929030" y="1111911"/>
                      </a:lnTo>
                      <a:lnTo>
                        <a:pt x="0" y="555955"/>
                      </a:lnTo>
                      <a:close/>
                    </a:path>
                  </a:pathLst>
                </a:custGeom>
                <a:solidFill>
                  <a:schemeClr val="bg2">
                    <a:lumMod val="20000"/>
                    <a:lumOff val="80000"/>
                  </a:schemeClr>
                </a:solidFill>
                <a:ln w="9525"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91440" rIns="91440" bIns="91440" rtlCol="0" anchor="ctr">
                  <a:noAutofit/>
                </a:bodyPr>
                <a:lstStyle/>
                <a:p>
                  <a:pPr algn="ctr"/>
                  <a:endParaRPr lang="en-US" sz="1400" err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0" name="Freeform 9">
                  <a:extLst>
                    <a:ext uri="{FF2B5EF4-FFF2-40B4-BE49-F238E27FC236}">
                      <a16:creationId xmlns:a16="http://schemas.microsoft.com/office/drawing/2014/main" id="{0C3329FD-1AD6-BC76-55FD-A58763A9063A}"/>
                    </a:ext>
                  </a:extLst>
                </p:cNvPr>
                <p:cNvSpPr/>
                <p:nvPr/>
              </p:nvSpPr>
              <p:spPr>
                <a:xfrm>
                  <a:off x="4469587" y="3160166"/>
                  <a:ext cx="943661" cy="1675181"/>
                </a:xfrm>
                <a:custGeom>
                  <a:avLst/>
                  <a:gdLst>
                    <a:gd name="connsiteX0" fmla="*/ 0 w 943661"/>
                    <a:gd name="connsiteY0" fmla="*/ 548640 h 1675181"/>
                    <a:gd name="connsiteX1" fmla="*/ 14631 w 943661"/>
                    <a:gd name="connsiteY1" fmla="*/ 1675181 h 1675181"/>
                    <a:gd name="connsiteX2" fmla="*/ 936346 w 943661"/>
                    <a:gd name="connsiteY2" fmla="*/ 1126541 h 1675181"/>
                    <a:gd name="connsiteX3" fmla="*/ 943661 w 943661"/>
                    <a:gd name="connsiteY3" fmla="*/ 0 h 1675181"/>
                    <a:gd name="connsiteX4" fmla="*/ 0 w 943661"/>
                    <a:gd name="connsiteY4" fmla="*/ 548640 h 16751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3661" h="1675181">
                      <a:moveTo>
                        <a:pt x="0" y="548640"/>
                      </a:moveTo>
                      <a:lnTo>
                        <a:pt x="14631" y="1675181"/>
                      </a:lnTo>
                      <a:lnTo>
                        <a:pt x="936346" y="1126541"/>
                      </a:lnTo>
                      <a:cubicBezTo>
                        <a:pt x="938784" y="751027"/>
                        <a:pt x="941223" y="375514"/>
                        <a:pt x="943661" y="0"/>
                      </a:cubicBezTo>
                      <a:lnTo>
                        <a:pt x="0" y="54864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9525"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91440" rIns="91440" bIns="91440" rtlCol="0" anchor="ctr">
                  <a:noAutofit/>
                </a:bodyPr>
                <a:lstStyle/>
                <a:p>
                  <a:pPr algn="ctr"/>
                  <a:endParaRPr lang="en-US" sz="1400" err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11" name="Freeform 10">
                  <a:extLst>
                    <a:ext uri="{FF2B5EF4-FFF2-40B4-BE49-F238E27FC236}">
                      <a16:creationId xmlns:a16="http://schemas.microsoft.com/office/drawing/2014/main" id="{C8F2535F-9C9B-EB95-307C-370616AA5E00}"/>
                    </a:ext>
                  </a:extLst>
                </p:cNvPr>
                <p:cNvSpPr/>
                <p:nvPr/>
              </p:nvSpPr>
              <p:spPr>
                <a:xfrm>
                  <a:off x="3525926" y="3160167"/>
                  <a:ext cx="955567" cy="1679944"/>
                </a:xfrm>
                <a:custGeom>
                  <a:avLst/>
                  <a:gdLst>
                    <a:gd name="connsiteX0" fmla="*/ 0 w 943661"/>
                    <a:gd name="connsiteY0" fmla="*/ 1126541 h 1675181"/>
                    <a:gd name="connsiteX1" fmla="*/ 14631 w 943661"/>
                    <a:gd name="connsiteY1" fmla="*/ 0 h 1675181"/>
                    <a:gd name="connsiteX2" fmla="*/ 929031 w 943661"/>
                    <a:gd name="connsiteY2" fmla="*/ 555956 h 1675181"/>
                    <a:gd name="connsiteX3" fmla="*/ 943661 w 943661"/>
                    <a:gd name="connsiteY3" fmla="*/ 1675181 h 1675181"/>
                    <a:gd name="connsiteX4" fmla="*/ 0 w 943661"/>
                    <a:gd name="connsiteY4" fmla="*/ 1126541 h 1675181"/>
                    <a:gd name="connsiteX0" fmla="*/ 57544 w 1001205"/>
                    <a:gd name="connsiteY0" fmla="*/ 1126541 h 1675181"/>
                    <a:gd name="connsiteX1" fmla="*/ 72175 w 1001205"/>
                    <a:gd name="connsiteY1" fmla="*/ 0 h 1675181"/>
                    <a:gd name="connsiteX2" fmla="*/ 993719 w 1001205"/>
                    <a:gd name="connsiteY2" fmla="*/ 558337 h 1675181"/>
                    <a:gd name="connsiteX3" fmla="*/ 1001205 w 1001205"/>
                    <a:gd name="connsiteY3" fmla="*/ 1675181 h 1675181"/>
                    <a:gd name="connsiteX4" fmla="*/ 57544 w 1001205"/>
                    <a:gd name="connsiteY4" fmla="*/ 1126541 h 1675181"/>
                    <a:gd name="connsiteX0" fmla="*/ 57544 w 1013111"/>
                    <a:gd name="connsiteY0" fmla="*/ 1126541 h 1679944"/>
                    <a:gd name="connsiteX1" fmla="*/ 72175 w 1013111"/>
                    <a:gd name="connsiteY1" fmla="*/ 0 h 1679944"/>
                    <a:gd name="connsiteX2" fmla="*/ 993719 w 1013111"/>
                    <a:gd name="connsiteY2" fmla="*/ 558337 h 1679944"/>
                    <a:gd name="connsiteX3" fmla="*/ 1013111 w 1013111"/>
                    <a:gd name="connsiteY3" fmla="*/ 1679944 h 1679944"/>
                    <a:gd name="connsiteX4" fmla="*/ 57544 w 1013111"/>
                    <a:gd name="connsiteY4" fmla="*/ 1126541 h 1679944"/>
                    <a:gd name="connsiteX0" fmla="*/ 0 w 955567"/>
                    <a:gd name="connsiteY0" fmla="*/ 1126541 h 1679944"/>
                    <a:gd name="connsiteX1" fmla="*/ 14631 w 955567"/>
                    <a:gd name="connsiteY1" fmla="*/ 0 h 1679944"/>
                    <a:gd name="connsiteX2" fmla="*/ 936175 w 955567"/>
                    <a:gd name="connsiteY2" fmla="*/ 558337 h 1679944"/>
                    <a:gd name="connsiteX3" fmla="*/ 955567 w 955567"/>
                    <a:gd name="connsiteY3" fmla="*/ 1679944 h 1679944"/>
                    <a:gd name="connsiteX4" fmla="*/ 0 w 955567"/>
                    <a:gd name="connsiteY4" fmla="*/ 1126541 h 16799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55567" h="1679944">
                      <a:moveTo>
                        <a:pt x="0" y="1126541"/>
                      </a:moveTo>
                      <a:cubicBezTo>
                        <a:pt x="4877" y="751027"/>
                        <a:pt x="3858" y="339970"/>
                        <a:pt x="14631" y="0"/>
                      </a:cubicBezTo>
                      <a:lnTo>
                        <a:pt x="936175" y="558337"/>
                      </a:lnTo>
                      <a:cubicBezTo>
                        <a:pt x="938670" y="930618"/>
                        <a:pt x="953072" y="1307663"/>
                        <a:pt x="955567" y="1679944"/>
                      </a:cubicBezTo>
                      <a:lnTo>
                        <a:pt x="0" y="1126541"/>
                      </a:lnTo>
                      <a:close/>
                    </a:path>
                  </a:pathLst>
                </a:custGeom>
                <a:solidFill>
                  <a:schemeClr val="bg2">
                    <a:lumMod val="20000"/>
                    <a:lumOff val="80000"/>
                  </a:schemeClr>
                </a:solidFill>
                <a:ln w="9525"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91440" rIns="91440" bIns="91440" rtlCol="0" anchor="ctr">
                  <a:noAutofit/>
                </a:bodyPr>
                <a:lstStyle/>
                <a:p>
                  <a:pPr algn="ctr"/>
                  <a:endParaRPr lang="en-US" sz="1400" err="1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FB653513-A00F-A917-5D18-92DE7C2CFF98}"/>
                  </a:ext>
                </a:extLst>
              </p:cNvPr>
              <p:cNvSpPr txBox="1"/>
              <p:nvPr/>
            </p:nvSpPr>
            <p:spPr>
              <a:xfrm>
                <a:off x="6550389" y="1348358"/>
                <a:ext cx="691028" cy="688256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algn="ctr"/>
                <a:r>
                  <a:rPr lang="en-US" sz="4000" b="1">
                    <a:solidFill>
                      <a:schemeClr val="accent3"/>
                    </a:solidFill>
                  </a:rPr>
                  <a:t>1</a:t>
                </a:r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CD4C568-96C6-5B21-2155-84C967A607B9}"/>
                  </a:ext>
                </a:extLst>
              </p:cNvPr>
              <p:cNvGrpSpPr/>
              <p:nvPr/>
            </p:nvGrpSpPr>
            <p:grpSpPr>
              <a:xfrm>
                <a:off x="6883338" y="2867424"/>
                <a:ext cx="1620875" cy="1920240"/>
                <a:chOff x="5774128" y="2814784"/>
                <a:chExt cx="1620875" cy="1920240"/>
              </a:xfrm>
            </p:grpSpPr>
            <p:sp>
              <p:nvSpPr>
                <p:cNvPr id="19" name="Freeform 18">
                  <a:extLst>
                    <a:ext uri="{FF2B5EF4-FFF2-40B4-BE49-F238E27FC236}">
                      <a16:creationId xmlns:a16="http://schemas.microsoft.com/office/drawing/2014/main" id="{C181B4DA-96E7-3C1A-1CD4-015655D5040D}"/>
                    </a:ext>
                  </a:extLst>
                </p:cNvPr>
                <p:cNvSpPr/>
                <p:nvPr/>
              </p:nvSpPr>
              <p:spPr>
                <a:xfrm>
                  <a:off x="5786693" y="2814784"/>
                  <a:ext cx="1608310" cy="954934"/>
                </a:xfrm>
                <a:custGeom>
                  <a:avLst/>
                  <a:gdLst>
                    <a:gd name="connsiteX0" fmla="*/ 0 w 1872691"/>
                    <a:gd name="connsiteY0" fmla="*/ 555955 h 1111911"/>
                    <a:gd name="connsiteX1" fmla="*/ 914400 w 1872691"/>
                    <a:gd name="connsiteY1" fmla="*/ 0 h 1111911"/>
                    <a:gd name="connsiteX2" fmla="*/ 1872691 w 1872691"/>
                    <a:gd name="connsiteY2" fmla="*/ 555955 h 1111911"/>
                    <a:gd name="connsiteX3" fmla="*/ 929030 w 1872691"/>
                    <a:gd name="connsiteY3" fmla="*/ 1111911 h 1111911"/>
                    <a:gd name="connsiteX4" fmla="*/ 0 w 1872691"/>
                    <a:gd name="connsiteY4" fmla="*/ 555955 h 11119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72691" h="1111911">
                      <a:moveTo>
                        <a:pt x="0" y="555955"/>
                      </a:moveTo>
                      <a:lnTo>
                        <a:pt x="914400" y="0"/>
                      </a:lnTo>
                      <a:lnTo>
                        <a:pt x="1872691" y="555955"/>
                      </a:lnTo>
                      <a:lnTo>
                        <a:pt x="929030" y="1111911"/>
                      </a:lnTo>
                      <a:lnTo>
                        <a:pt x="0" y="555955"/>
                      </a:lnTo>
                      <a:close/>
                    </a:path>
                  </a:pathLst>
                </a:custGeom>
                <a:solidFill>
                  <a:schemeClr val="bg2">
                    <a:lumMod val="20000"/>
                    <a:lumOff val="80000"/>
                  </a:schemeClr>
                </a:solidFill>
                <a:ln w="9525"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91440" rIns="91440" bIns="91440" rtlCol="0" anchor="ctr">
                  <a:noAutofit/>
                </a:bodyPr>
                <a:lstStyle/>
                <a:p>
                  <a:pPr algn="ctr"/>
                  <a:endParaRPr lang="en-US" sz="1400" err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0" name="Freeform 19">
                  <a:extLst>
                    <a:ext uri="{FF2B5EF4-FFF2-40B4-BE49-F238E27FC236}">
                      <a16:creationId xmlns:a16="http://schemas.microsoft.com/office/drawing/2014/main" id="{850C23B3-4609-778F-1482-35357C499C25}"/>
                    </a:ext>
                  </a:extLst>
                </p:cNvPr>
                <p:cNvSpPr/>
                <p:nvPr/>
              </p:nvSpPr>
              <p:spPr>
                <a:xfrm>
                  <a:off x="6578608" y="3292250"/>
                  <a:ext cx="816395" cy="1438682"/>
                </a:xfrm>
                <a:custGeom>
                  <a:avLst/>
                  <a:gdLst>
                    <a:gd name="connsiteX0" fmla="*/ 0 w 943661"/>
                    <a:gd name="connsiteY0" fmla="*/ 548640 h 1675181"/>
                    <a:gd name="connsiteX1" fmla="*/ 14631 w 943661"/>
                    <a:gd name="connsiteY1" fmla="*/ 1675181 h 1675181"/>
                    <a:gd name="connsiteX2" fmla="*/ 936346 w 943661"/>
                    <a:gd name="connsiteY2" fmla="*/ 1126541 h 1675181"/>
                    <a:gd name="connsiteX3" fmla="*/ 943661 w 943661"/>
                    <a:gd name="connsiteY3" fmla="*/ 0 h 1675181"/>
                    <a:gd name="connsiteX4" fmla="*/ 0 w 943661"/>
                    <a:gd name="connsiteY4" fmla="*/ 548640 h 1675181"/>
                    <a:gd name="connsiteX0" fmla="*/ 0 w 950597"/>
                    <a:gd name="connsiteY0" fmla="*/ 559044 h 1675181"/>
                    <a:gd name="connsiteX1" fmla="*/ 21567 w 950597"/>
                    <a:gd name="connsiteY1" fmla="*/ 1675181 h 1675181"/>
                    <a:gd name="connsiteX2" fmla="*/ 943282 w 950597"/>
                    <a:gd name="connsiteY2" fmla="*/ 1126541 h 1675181"/>
                    <a:gd name="connsiteX3" fmla="*/ 950597 w 950597"/>
                    <a:gd name="connsiteY3" fmla="*/ 0 h 1675181"/>
                    <a:gd name="connsiteX4" fmla="*/ 0 w 950597"/>
                    <a:gd name="connsiteY4" fmla="*/ 559044 h 16751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50597" h="1675181">
                      <a:moveTo>
                        <a:pt x="0" y="559044"/>
                      </a:moveTo>
                      <a:lnTo>
                        <a:pt x="21567" y="1675181"/>
                      </a:lnTo>
                      <a:lnTo>
                        <a:pt x="943282" y="1126541"/>
                      </a:lnTo>
                      <a:cubicBezTo>
                        <a:pt x="945720" y="751027"/>
                        <a:pt x="948159" y="375514"/>
                        <a:pt x="950597" y="0"/>
                      </a:cubicBezTo>
                      <a:lnTo>
                        <a:pt x="0" y="559044"/>
                      </a:lnTo>
                      <a:close/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 w="9525"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91440" rIns="91440" bIns="91440" rtlCol="0" anchor="ctr">
                  <a:noAutofit/>
                </a:bodyPr>
                <a:lstStyle/>
                <a:p>
                  <a:pPr algn="ctr"/>
                  <a:endParaRPr lang="en-US" sz="1400" err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1" name="Freeform 20">
                  <a:extLst>
                    <a:ext uri="{FF2B5EF4-FFF2-40B4-BE49-F238E27FC236}">
                      <a16:creationId xmlns:a16="http://schemas.microsoft.com/office/drawing/2014/main" id="{B9220760-50FD-9AEC-684F-3B3D721B1809}"/>
                    </a:ext>
                  </a:extLst>
                </p:cNvPr>
                <p:cNvSpPr/>
                <p:nvPr/>
              </p:nvSpPr>
              <p:spPr>
                <a:xfrm>
                  <a:off x="5774128" y="3292251"/>
                  <a:ext cx="820663" cy="1442773"/>
                </a:xfrm>
                <a:custGeom>
                  <a:avLst/>
                  <a:gdLst>
                    <a:gd name="connsiteX0" fmla="*/ 0 w 943661"/>
                    <a:gd name="connsiteY0" fmla="*/ 1126541 h 1675181"/>
                    <a:gd name="connsiteX1" fmla="*/ 14631 w 943661"/>
                    <a:gd name="connsiteY1" fmla="*/ 0 h 1675181"/>
                    <a:gd name="connsiteX2" fmla="*/ 929031 w 943661"/>
                    <a:gd name="connsiteY2" fmla="*/ 555956 h 1675181"/>
                    <a:gd name="connsiteX3" fmla="*/ 943661 w 943661"/>
                    <a:gd name="connsiteY3" fmla="*/ 1675181 h 1675181"/>
                    <a:gd name="connsiteX4" fmla="*/ 0 w 943661"/>
                    <a:gd name="connsiteY4" fmla="*/ 1126541 h 1675181"/>
                    <a:gd name="connsiteX0" fmla="*/ 57544 w 1001205"/>
                    <a:gd name="connsiteY0" fmla="*/ 1126541 h 1675181"/>
                    <a:gd name="connsiteX1" fmla="*/ 72175 w 1001205"/>
                    <a:gd name="connsiteY1" fmla="*/ 0 h 1675181"/>
                    <a:gd name="connsiteX2" fmla="*/ 993719 w 1001205"/>
                    <a:gd name="connsiteY2" fmla="*/ 558337 h 1675181"/>
                    <a:gd name="connsiteX3" fmla="*/ 1001205 w 1001205"/>
                    <a:gd name="connsiteY3" fmla="*/ 1675181 h 1675181"/>
                    <a:gd name="connsiteX4" fmla="*/ 57544 w 1001205"/>
                    <a:gd name="connsiteY4" fmla="*/ 1126541 h 1675181"/>
                    <a:gd name="connsiteX0" fmla="*/ 57544 w 1013111"/>
                    <a:gd name="connsiteY0" fmla="*/ 1126541 h 1679944"/>
                    <a:gd name="connsiteX1" fmla="*/ 72175 w 1013111"/>
                    <a:gd name="connsiteY1" fmla="*/ 0 h 1679944"/>
                    <a:gd name="connsiteX2" fmla="*/ 993719 w 1013111"/>
                    <a:gd name="connsiteY2" fmla="*/ 558337 h 1679944"/>
                    <a:gd name="connsiteX3" fmla="*/ 1013111 w 1013111"/>
                    <a:gd name="connsiteY3" fmla="*/ 1679944 h 1679944"/>
                    <a:gd name="connsiteX4" fmla="*/ 57544 w 1013111"/>
                    <a:gd name="connsiteY4" fmla="*/ 1126541 h 1679944"/>
                    <a:gd name="connsiteX0" fmla="*/ 0 w 955567"/>
                    <a:gd name="connsiteY0" fmla="*/ 1126541 h 1679944"/>
                    <a:gd name="connsiteX1" fmla="*/ 14631 w 955567"/>
                    <a:gd name="connsiteY1" fmla="*/ 0 h 1679944"/>
                    <a:gd name="connsiteX2" fmla="*/ 936175 w 955567"/>
                    <a:gd name="connsiteY2" fmla="*/ 558337 h 1679944"/>
                    <a:gd name="connsiteX3" fmla="*/ 955567 w 955567"/>
                    <a:gd name="connsiteY3" fmla="*/ 1679944 h 1679944"/>
                    <a:gd name="connsiteX4" fmla="*/ 0 w 955567"/>
                    <a:gd name="connsiteY4" fmla="*/ 1126541 h 16799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55567" h="1679944">
                      <a:moveTo>
                        <a:pt x="0" y="1126541"/>
                      </a:moveTo>
                      <a:cubicBezTo>
                        <a:pt x="4877" y="751027"/>
                        <a:pt x="3858" y="339970"/>
                        <a:pt x="14631" y="0"/>
                      </a:cubicBezTo>
                      <a:lnTo>
                        <a:pt x="936175" y="558337"/>
                      </a:lnTo>
                      <a:cubicBezTo>
                        <a:pt x="938670" y="930618"/>
                        <a:pt x="953072" y="1307663"/>
                        <a:pt x="955567" y="1679944"/>
                      </a:cubicBezTo>
                      <a:lnTo>
                        <a:pt x="0" y="1126541"/>
                      </a:lnTo>
                      <a:close/>
                    </a:path>
                  </a:pathLst>
                </a:custGeom>
                <a:solidFill>
                  <a:schemeClr val="bg2">
                    <a:lumMod val="20000"/>
                    <a:lumOff val="80000"/>
                  </a:schemeClr>
                </a:solidFill>
                <a:ln w="9525"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91440" rIns="91440" bIns="91440" rtlCol="0" anchor="ctr">
                  <a:noAutofit/>
                </a:bodyPr>
                <a:lstStyle/>
                <a:p>
                  <a:pPr algn="ctr"/>
                  <a:endParaRPr lang="en-US" sz="1400" err="1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FD157A9-83C8-001F-BA07-14D052422E62}"/>
                  </a:ext>
                </a:extLst>
              </p:cNvPr>
              <p:cNvSpPr txBox="1"/>
              <p:nvPr/>
            </p:nvSpPr>
            <p:spPr>
              <a:xfrm>
                <a:off x="7348262" y="3000763"/>
                <a:ext cx="691028" cy="688256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algn="ctr"/>
                <a:r>
                  <a:rPr lang="en-US" sz="4000" b="1">
                    <a:solidFill>
                      <a:schemeClr val="bg2"/>
                    </a:solidFill>
                  </a:rPr>
                  <a:t>2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EE78778B-5C15-A2EC-AE7A-074DE71287A8}"/>
                  </a:ext>
                </a:extLst>
              </p:cNvPr>
              <p:cNvSpPr/>
              <p:nvPr/>
            </p:nvSpPr>
            <p:spPr>
              <a:xfrm>
                <a:off x="7612621" y="5502329"/>
                <a:ext cx="958915" cy="307777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algn="ctr">
                  <a:spcAft>
                    <a:spcPts val="600"/>
                  </a:spcAft>
                </a:pPr>
                <a:r>
                  <a:rPr lang="en-US" sz="1000" b="1" err="1">
                    <a:solidFill>
                      <a:schemeClr val="tx2"/>
                    </a:solidFill>
                  </a:rPr>
                  <a:t>Lorem</a:t>
                </a:r>
                <a:r>
                  <a:rPr lang="en-US" sz="1000" b="1">
                    <a:solidFill>
                      <a:schemeClr val="tx2"/>
                    </a:solidFill>
                  </a:rPr>
                  <a:t> </a:t>
                </a:r>
                <a:br>
                  <a:rPr lang="en-US" sz="1000" b="1">
                    <a:solidFill>
                      <a:schemeClr val="tx2"/>
                    </a:solidFill>
                  </a:rPr>
                </a:br>
                <a:r>
                  <a:rPr lang="en-US" sz="1000" b="1" err="1">
                    <a:solidFill>
                      <a:schemeClr val="tx2"/>
                    </a:solidFill>
                  </a:rPr>
                  <a:t>ipsum</a:t>
                </a:r>
                <a:endParaRPr lang="en-US" sz="800">
                  <a:solidFill>
                    <a:schemeClr val="tx2"/>
                  </a:solidFill>
                </a:endParaRPr>
              </a:p>
            </p:txBody>
          </p: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C5EFCD46-71A4-3DED-B2FF-97884E02CF84}"/>
                  </a:ext>
                </a:extLst>
              </p:cNvPr>
              <p:cNvGrpSpPr/>
              <p:nvPr/>
            </p:nvGrpSpPr>
            <p:grpSpPr>
              <a:xfrm>
                <a:off x="7681750" y="4489146"/>
                <a:ext cx="1620874" cy="1920242"/>
                <a:chOff x="6572540" y="4436506"/>
                <a:chExt cx="1620874" cy="1920242"/>
              </a:xfrm>
            </p:grpSpPr>
            <p:sp>
              <p:nvSpPr>
                <p:cNvPr id="27" name="Freeform 26">
                  <a:extLst>
                    <a:ext uri="{FF2B5EF4-FFF2-40B4-BE49-F238E27FC236}">
                      <a16:creationId xmlns:a16="http://schemas.microsoft.com/office/drawing/2014/main" id="{3A5B2779-7095-090D-7FA4-C1F317EE3AA4}"/>
                    </a:ext>
                  </a:extLst>
                </p:cNvPr>
                <p:cNvSpPr/>
                <p:nvPr/>
              </p:nvSpPr>
              <p:spPr>
                <a:xfrm>
                  <a:off x="6585104" y="4436506"/>
                  <a:ext cx="1608310" cy="954934"/>
                </a:xfrm>
                <a:custGeom>
                  <a:avLst/>
                  <a:gdLst>
                    <a:gd name="connsiteX0" fmla="*/ 0 w 1872691"/>
                    <a:gd name="connsiteY0" fmla="*/ 555955 h 1111911"/>
                    <a:gd name="connsiteX1" fmla="*/ 914400 w 1872691"/>
                    <a:gd name="connsiteY1" fmla="*/ 0 h 1111911"/>
                    <a:gd name="connsiteX2" fmla="*/ 1872691 w 1872691"/>
                    <a:gd name="connsiteY2" fmla="*/ 555955 h 1111911"/>
                    <a:gd name="connsiteX3" fmla="*/ 929030 w 1872691"/>
                    <a:gd name="connsiteY3" fmla="*/ 1111911 h 1111911"/>
                    <a:gd name="connsiteX4" fmla="*/ 0 w 1872691"/>
                    <a:gd name="connsiteY4" fmla="*/ 555955 h 11119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72691" h="1111911">
                      <a:moveTo>
                        <a:pt x="0" y="555955"/>
                      </a:moveTo>
                      <a:lnTo>
                        <a:pt x="914400" y="0"/>
                      </a:lnTo>
                      <a:lnTo>
                        <a:pt x="1872691" y="555955"/>
                      </a:lnTo>
                      <a:lnTo>
                        <a:pt x="929030" y="1111911"/>
                      </a:lnTo>
                      <a:lnTo>
                        <a:pt x="0" y="555955"/>
                      </a:lnTo>
                      <a:close/>
                    </a:path>
                  </a:pathLst>
                </a:custGeom>
                <a:solidFill>
                  <a:schemeClr val="bg2">
                    <a:lumMod val="20000"/>
                    <a:lumOff val="80000"/>
                  </a:schemeClr>
                </a:solidFill>
                <a:ln w="9525"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91440" rIns="91440" bIns="91440" rtlCol="0" anchor="ctr">
                  <a:noAutofit/>
                </a:bodyPr>
                <a:lstStyle/>
                <a:p>
                  <a:pPr algn="ctr"/>
                  <a:endParaRPr lang="en-US" sz="1400" err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8" name="Freeform 27">
                  <a:extLst>
                    <a:ext uri="{FF2B5EF4-FFF2-40B4-BE49-F238E27FC236}">
                      <a16:creationId xmlns:a16="http://schemas.microsoft.com/office/drawing/2014/main" id="{12B16E45-18B8-48B8-DC3E-7F0A66D1D9B6}"/>
                    </a:ext>
                  </a:extLst>
                </p:cNvPr>
                <p:cNvSpPr/>
                <p:nvPr/>
              </p:nvSpPr>
              <p:spPr>
                <a:xfrm>
                  <a:off x="6572540" y="4913975"/>
                  <a:ext cx="820663" cy="1442773"/>
                </a:xfrm>
                <a:custGeom>
                  <a:avLst/>
                  <a:gdLst>
                    <a:gd name="connsiteX0" fmla="*/ 0 w 943661"/>
                    <a:gd name="connsiteY0" fmla="*/ 1126541 h 1675181"/>
                    <a:gd name="connsiteX1" fmla="*/ 14631 w 943661"/>
                    <a:gd name="connsiteY1" fmla="*/ 0 h 1675181"/>
                    <a:gd name="connsiteX2" fmla="*/ 929031 w 943661"/>
                    <a:gd name="connsiteY2" fmla="*/ 555956 h 1675181"/>
                    <a:gd name="connsiteX3" fmla="*/ 943661 w 943661"/>
                    <a:gd name="connsiteY3" fmla="*/ 1675181 h 1675181"/>
                    <a:gd name="connsiteX4" fmla="*/ 0 w 943661"/>
                    <a:gd name="connsiteY4" fmla="*/ 1126541 h 1675181"/>
                    <a:gd name="connsiteX0" fmla="*/ 57544 w 1001205"/>
                    <a:gd name="connsiteY0" fmla="*/ 1126541 h 1675181"/>
                    <a:gd name="connsiteX1" fmla="*/ 72175 w 1001205"/>
                    <a:gd name="connsiteY1" fmla="*/ 0 h 1675181"/>
                    <a:gd name="connsiteX2" fmla="*/ 993719 w 1001205"/>
                    <a:gd name="connsiteY2" fmla="*/ 558337 h 1675181"/>
                    <a:gd name="connsiteX3" fmla="*/ 1001205 w 1001205"/>
                    <a:gd name="connsiteY3" fmla="*/ 1675181 h 1675181"/>
                    <a:gd name="connsiteX4" fmla="*/ 57544 w 1001205"/>
                    <a:gd name="connsiteY4" fmla="*/ 1126541 h 1675181"/>
                    <a:gd name="connsiteX0" fmla="*/ 57544 w 1013111"/>
                    <a:gd name="connsiteY0" fmla="*/ 1126541 h 1679944"/>
                    <a:gd name="connsiteX1" fmla="*/ 72175 w 1013111"/>
                    <a:gd name="connsiteY1" fmla="*/ 0 h 1679944"/>
                    <a:gd name="connsiteX2" fmla="*/ 993719 w 1013111"/>
                    <a:gd name="connsiteY2" fmla="*/ 558337 h 1679944"/>
                    <a:gd name="connsiteX3" fmla="*/ 1013111 w 1013111"/>
                    <a:gd name="connsiteY3" fmla="*/ 1679944 h 1679944"/>
                    <a:gd name="connsiteX4" fmla="*/ 57544 w 1013111"/>
                    <a:gd name="connsiteY4" fmla="*/ 1126541 h 1679944"/>
                    <a:gd name="connsiteX0" fmla="*/ 0 w 955567"/>
                    <a:gd name="connsiteY0" fmla="*/ 1126541 h 1679944"/>
                    <a:gd name="connsiteX1" fmla="*/ 14631 w 955567"/>
                    <a:gd name="connsiteY1" fmla="*/ 0 h 1679944"/>
                    <a:gd name="connsiteX2" fmla="*/ 936175 w 955567"/>
                    <a:gd name="connsiteY2" fmla="*/ 558337 h 1679944"/>
                    <a:gd name="connsiteX3" fmla="*/ 955567 w 955567"/>
                    <a:gd name="connsiteY3" fmla="*/ 1679944 h 1679944"/>
                    <a:gd name="connsiteX4" fmla="*/ 0 w 955567"/>
                    <a:gd name="connsiteY4" fmla="*/ 1126541 h 1679944"/>
                    <a:gd name="connsiteX0" fmla="*/ 0 w 955567"/>
                    <a:gd name="connsiteY0" fmla="*/ 1126541 h 1679944"/>
                    <a:gd name="connsiteX1" fmla="*/ 14631 w 955567"/>
                    <a:gd name="connsiteY1" fmla="*/ 0 h 1679944"/>
                    <a:gd name="connsiteX2" fmla="*/ 946580 w 955567"/>
                    <a:gd name="connsiteY2" fmla="*/ 565273 h 1679944"/>
                    <a:gd name="connsiteX3" fmla="*/ 955567 w 955567"/>
                    <a:gd name="connsiteY3" fmla="*/ 1679944 h 1679944"/>
                    <a:gd name="connsiteX4" fmla="*/ 0 w 955567"/>
                    <a:gd name="connsiteY4" fmla="*/ 1126541 h 16799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55567" h="1679944">
                      <a:moveTo>
                        <a:pt x="0" y="1126541"/>
                      </a:moveTo>
                      <a:cubicBezTo>
                        <a:pt x="4877" y="751027"/>
                        <a:pt x="3858" y="339970"/>
                        <a:pt x="14631" y="0"/>
                      </a:cubicBezTo>
                      <a:lnTo>
                        <a:pt x="946580" y="565273"/>
                      </a:lnTo>
                      <a:cubicBezTo>
                        <a:pt x="949075" y="937554"/>
                        <a:pt x="953072" y="1307663"/>
                        <a:pt x="955567" y="1679944"/>
                      </a:cubicBezTo>
                      <a:lnTo>
                        <a:pt x="0" y="1126541"/>
                      </a:lnTo>
                      <a:close/>
                    </a:path>
                  </a:pathLst>
                </a:custGeom>
                <a:solidFill>
                  <a:schemeClr val="bg2">
                    <a:lumMod val="20000"/>
                    <a:lumOff val="80000"/>
                  </a:schemeClr>
                </a:solidFill>
                <a:ln w="9525"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91440" rIns="91440" bIns="91440" rtlCol="0" anchor="ctr">
                  <a:noAutofit/>
                </a:bodyPr>
                <a:lstStyle/>
                <a:p>
                  <a:pPr algn="ctr"/>
                  <a:endParaRPr lang="en-US" sz="1400" err="1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30" name="Freeform 67">
                <a:extLst>
                  <a:ext uri="{FF2B5EF4-FFF2-40B4-BE49-F238E27FC236}">
                    <a16:creationId xmlns:a16="http://schemas.microsoft.com/office/drawing/2014/main" id="{10772E90-4071-108A-6B2C-E38B154A8272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8660196" y="5453980"/>
                <a:ext cx="534979" cy="480208"/>
              </a:xfrm>
              <a:custGeom>
                <a:avLst/>
                <a:gdLst>
                  <a:gd name="T0" fmla="*/ 147 w 200"/>
                  <a:gd name="T1" fmla="*/ 162 h 179"/>
                  <a:gd name="T2" fmla="*/ 147 w 200"/>
                  <a:gd name="T3" fmla="*/ 179 h 179"/>
                  <a:gd name="T4" fmla="*/ 100 w 200"/>
                  <a:gd name="T5" fmla="*/ 179 h 179"/>
                  <a:gd name="T6" fmla="*/ 53 w 200"/>
                  <a:gd name="T7" fmla="*/ 179 h 179"/>
                  <a:gd name="T8" fmla="*/ 53 w 200"/>
                  <a:gd name="T9" fmla="*/ 162 h 179"/>
                  <a:gd name="T10" fmla="*/ 61 w 200"/>
                  <a:gd name="T11" fmla="*/ 155 h 179"/>
                  <a:gd name="T12" fmla="*/ 100 w 200"/>
                  <a:gd name="T13" fmla="*/ 155 h 179"/>
                  <a:gd name="T14" fmla="*/ 138 w 200"/>
                  <a:gd name="T15" fmla="*/ 155 h 179"/>
                  <a:gd name="T16" fmla="*/ 147 w 200"/>
                  <a:gd name="T17" fmla="*/ 162 h 179"/>
                  <a:gd name="T18" fmla="*/ 139 w 200"/>
                  <a:gd name="T19" fmla="*/ 100 h 179"/>
                  <a:gd name="T20" fmla="*/ 113 w 200"/>
                  <a:gd name="T21" fmla="*/ 129 h 179"/>
                  <a:gd name="T22" fmla="*/ 116 w 200"/>
                  <a:gd name="T23" fmla="*/ 142 h 179"/>
                  <a:gd name="T24" fmla="*/ 125 w 200"/>
                  <a:gd name="T25" fmla="*/ 153 h 179"/>
                  <a:gd name="T26" fmla="*/ 100 w 200"/>
                  <a:gd name="T27" fmla="*/ 153 h 179"/>
                  <a:gd name="T28" fmla="*/ 75 w 200"/>
                  <a:gd name="T29" fmla="*/ 153 h 179"/>
                  <a:gd name="T30" fmla="*/ 83 w 200"/>
                  <a:gd name="T31" fmla="*/ 142 h 179"/>
                  <a:gd name="T32" fmla="*/ 86 w 200"/>
                  <a:gd name="T33" fmla="*/ 129 h 179"/>
                  <a:gd name="T34" fmla="*/ 61 w 200"/>
                  <a:gd name="T35" fmla="*/ 100 h 179"/>
                  <a:gd name="T36" fmla="*/ 1 w 200"/>
                  <a:gd name="T37" fmla="*/ 42 h 179"/>
                  <a:gd name="T38" fmla="*/ 37 w 200"/>
                  <a:gd name="T39" fmla="*/ 19 h 179"/>
                  <a:gd name="T40" fmla="*/ 36 w 200"/>
                  <a:gd name="T41" fmla="*/ 0 h 179"/>
                  <a:gd name="T42" fmla="*/ 100 w 200"/>
                  <a:gd name="T43" fmla="*/ 0 h 179"/>
                  <a:gd name="T44" fmla="*/ 163 w 200"/>
                  <a:gd name="T45" fmla="*/ 0 h 179"/>
                  <a:gd name="T46" fmla="*/ 163 w 200"/>
                  <a:gd name="T47" fmla="*/ 19 h 179"/>
                  <a:gd name="T48" fmla="*/ 199 w 200"/>
                  <a:gd name="T49" fmla="*/ 42 h 179"/>
                  <a:gd name="T50" fmla="*/ 139 w 200"/>
                  <a:gd name="T51" fmla="*/ 100 h 179"/>
                  <a:gd name="T52" fmla="*/ 84 w 200"/>
                  <a:gd name="T53" fmla="*/ 118 h 179"/>
                  <a:gd name="T54" fmla="*/ 53 w 200"/>
                  <a:gd name="T55" fmla="*/ 16 h 179"/>
                  <a:gd name="T56" fmla="*/ 48 w 200"/>
                  <a:gd name="T57" fmla="*/ 12 h 179"/>
                  <a:gd name="T58" fmla="*/ 84 w 200"/>
                  <a:gd name="T59" fmla="*/ 118 h 179"/>
                  <a:gd name="T60" fmla="*/ 11 w 200"/>
                  <a:gd name="T61" fmla="*/ 42 h 179"/>
                  <a:gd name="T62" fmla="*/ 54 w 200"/>
                  <a:gd name="T63" fmla="*/ 88 h 179"/>
                  <a:gd name="T64" fmla="*/ 37 w 200"/>
                  <a:gd name="T65" fmla="*/ 29 h 179"/>
                  <a:gd name="T66" fmla="*/ 11 w 200"/>
                  <a:gd name="T67" fmla="*/ 42 h 179"/>
                  <a:gd name="T68" fmla="*/ 162 w 200"/>
                  <a:gd name="T69" fmla="*/ 29 h 179"/>
                  <a:gd name="T70" fmla="*/ 145 w 200"/>
                  <a:gd name="T71" fmla="*/ 88 h 179"/>
                  <a:gd name="T72" fmla="*/ 188 w 200"/>
                  <a:gd name="T73" fmla="*/ 42 h 179"/>
                  <a:gd name="T74" fmla="*/ 162 w 200"/>
                  <a:gd name="T75" fmla="*/ 29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00" h="179">
                    <a:moveTo>
                      <a:pt x="147" y="162"/>
                    </a:moveTo>
                    <a:cubicBezTo>
                      <a:pt x="147" y="179"/>
                      <a:pt x="147" y="179"/>
                      <a:pt x="147" y="179"/>
                    </a:cubicBezTo>
                    <a:cubicBezTo>
                      <a:pt x="100" y="179"/>
                      <a:pt x="100" y="179"/>
                      <a:pt x="100" y="179"/>
                    </a:cubicBezTo>
                    <a:cubicBezTo>
                      <a:pt x="53" y="179"/>
                      <a:pt x="53" y="179"/>
                      <a:pt x="53" y="179"/>
                    </a:cubicBezTo>
                    <a:cubicBezTo>
                      <a:pt x="53" y="162"/>
                      <a:pt x="53" y="162"/>
                      <a:pt x="53" y="162"/>
                    </a:cubicBezTo>
                    <a:cubicBezTo>
                      <a:pt x="53" y="162"/>
                      <a:pt x="53" y="155"/>
                      <a:pt x="61" y="155"/>
                    </a:cubicBezTo>
                    <a:cubicBezTo>
                      <a:pt x="69" y="155"/>
                      <a:pt x="100" y="155"/>
                      <a:pt x="100" y="155"/>
                    </a:cubicBezTo>
                    <a:cubicBezTo>
                      <a:pt x="100" y="155"/>
                      <a:pt x="131" y="155"/>
                      <a:pt x="138" y="155"/>
                    </a:cubicBezTo>
                    <a:cubicBezTo>
                      <a:pt x="146" y="155"/>
                      <a:pt x="147" y="162"/>
                      <a:pt x="147" y="162"/>
                    </a:cubicBezTo>
                    <a:close/>
                    <a:moveTo>
                      <a:pt x="139" y="100"/>
                    </a:moveTo>
                    <a:cubicBezTo>
                      <a:pt x="126" y="120"/>
                      <a:pt x="113" y="129"/>
                      <a:pt x="113" y="129"/>
                    </a:cubicBezTo>
                    <a:cubicBezTo>
                      <a:pt x="113" y="129"/>
                      <a:pt x="104" y="136"/>
                      <a:pt x="116" y="142"/>
                    </a:cubicBezTo>
                    <a:cubicBezTo>
                      <a:pt x="128" y="148"/>
                      <a:pt x="125" y="153"/>
                      <a:pt x="125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75" y="153"/>
                      <a:pt x="75" y="153"/>
                      <a:pt x="75" y="153"/>
                    </a:cubicBezTo>
                    <a:cubicBezTo>
                      <a:pt x="75" y="153"/>
                      <a:pt x="72" y="148"/>
                      <a:pt x="83" y="142"/>
                    </a:cubicBezTo>
                    <a:cubicBezTo>
                      <a:pt x="95" y="136"/>
                      <a:pt x="86" y="129"/>
                      <a:pt x="86" y="129"/>
                    </a:cubicBezTo>
                    <a:cubicBezTo>
                      <a:pt x="86" y="129"/>
                      <a:pt x="73" y="120"/>
                      <a:pt x="61" y="100"/>
                    </a:cubicBezTo>
                    <a:cubicBezTo>
                      <a:pt x="29" y="96"/>
                      <a:pt x="0" y="64"/>
                      <a:pt x="1" y="42"/>
                    </a:cubicBezTo>
                    <a:cubicBezTo>
                      <a:pt x="1" y="35"/>
                      <a:pt x="6" y="18"/>
                      <a:pt x="37" y="19"/>
                    </a:cubicBezTo>
                    <a:cubicBezTo>
                      <a:pt x="36" y="13"/>
                      <a:pt x="36" y="7"/>
                      <a:pt x="36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63" y="0"/>
                      <a:pt x="163" y="0"/>
                      <a:pt x="163" y="0"/>
                    </a:cubicBezTo>
                    <a:cubicBezTo>
                      <a:pt x="163" y="7"/>
                      <a:pt x="163" y="13"/>
                      <a:pt x="163" y="19"/>
                    </a:cubicBezTo>
                    <a:cubicBezTo>
                      <a:pt x="194" y="18"/>
                      <a:pt x="198" y="35"/>
                      <a:pt x="199" y="42"/>
                    </a:cubicBezTo>
                    <a:cubicBezTo>
                      <a:pt x="200" y="64"/>
                      <a:pt x="171" y="96"/>
                      <a:pt x="139" y="100"/>
                    </a:cubicBezTo>
                    <a:close/>
                    <a:moveTo>
                      <a:pt x="84" y="118"/>
                    </a:moveTo>
                    <a:cubicBezTo>
                      <a:pt x="47" y="61"/>
                      <a:pt x="53" y="23"/>
                      <a:pt x="53" y="16"/>
                    </a:cubicBezTo>
                    <a:cubicBezTo>
                      <a:pt x="54" y="8"/>
                      <a:pt x="49" y="8"/>
                      <a:pt x="48" y="12"/>
                    </a:cubicBezTo>
                    <a:cubicBezTo>
                      <a:pt x="35" y="56"/>
                      <a:pt x="84" y="118"/>
                      <a:pt x="84" y="118"/>
                    </a:cubicBezTo>
                    <a:close/>
                    <a:moveTo>
                      <a:pt x="11" y="42"/>
                    </a:moveTo>
                    <a:cubicBezTo>
                      <a:pt x="11" y="56"/>
                      <a:pt x="30" y="81"/>
                      <a:pt x="54" y="88"/>
                    </a:cubicBezTo>
                    <a:cubicBezTo>
                      <a:pt x="46" y="73"/>
                      <a:pt x="40" y="54"/>
                      <a:pt x="37" y="29"/>
                    </a:cubicBezTo>
                    <a:cubicBezTo>
                      <a:pt x="26" y="29"/>
                      <a:pt x="12" y="31"/>
                      <a:pt x="11" y="42"/>
                    </a:cubicBezTo>
                    <a:close/>
                    <a:moveTo>
                      <a:pt x="162" y="29"/>
                    </a:moveTo>
                    <a:cubicBezTo>
                      <a:pt x="159" y="54"/>
                      <a:pt x="153" y="73"/>
                      <a:pt x="145" y="88"/>
                    </a:cubicBezTo>
                    <a:cubicBezTo>
                      <a:pt x="169" y="81"/>
                      <a:pt x="188" y="56"/>
                      <a:pt x="188" y="42"/>
                    </a:cubicBezTo>
                    <a:cubicBezTo>
                      <a:pt x="187" y="31"/>
                      <a:pt x="173" y="29"/>
                      <a:pt x="162" y="2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4A68EC31-E810-6C91-62E4-D9A4EA3DACA8}"/>
                  </a:ext>
                </a:extLst>
              </p:cNvPr>
              <p:cNvSpPr txBox="1"/>
              <p:nvPr/>
            </p:nvSpPr>
            <p:spPr>
              <a:xfrm>
                <a:off x="8156898" y="4622485"/>
                <a:ext cx="691028" cy="688256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algn="ctr"/>
                <a:r>
                  <a:rPr lang="en-US" sz="4000" b="1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3</a:t>
                </a:r>
              </a:p>
            </p:txBody>
          </p:sp>
        </p:grp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540DB0C8-25D0-0797-B4E9-2850DB5962C5}"/>
                </a:ext>
              </a:extLst>
            </p:cNvPr>
            <p:cNvSpPr/>
            <p:nvPr/>
          </p:nvSpPr>
          <p:spPr>
            <a:xfrm>
              <a:off x="8981552" y="5286014"/>
              <a:ext cx="816395" cy="1438682"/>
            </a:xfrm>
            <a:custGeom>
              <a:avLst/>
              <a:gdLst>
                <a:gd name="connsiteX0" fmla="*/ 0 w 943661"/>
                <a:gd name="connsiteY0" fmla="*/ 548640 h 1675181"/>
                <a:gd name="connsiteX1" fmla="*/ 14631 w 943661"/>
                <a:gd name="connsiteY1" fmla="*/ 1675181 h 1675181"/>
                <a:gd name="connsiteX2" fmla="*/ 936346 w 943661"/>
                <a:gd name="connsiteY2" fmla="*/ 1126541 h 1675181"/>
                <a:gd name="connsiteX3" fmla="*/ 943661 w 943661"/>
                <a:gd name="connsiteY3" fmla="*/ 0 h 1675181"/>
                <a:gd name="connsiteX4" fmla="*/ 0 w 943661"/>
                <a:gd name="connsiteY4" fmla="*/ 548640 h 1675181"/>
                <a:gd name="connsiteX0" fmla="*/ 0 w 950597"/>
                <a:gd name="connsiteY0" fmla="*/ 559044 h 1675181"/>
                <a:gd name="connsiteX1" fmla="*/ 21567 w 950597"/>
                <a:gd name="connsiteY1" fmla="*/ 1675181 h 1675181"/>
                <a:gd name="connsiteX2" fmla="*/ 943282 w 950597"/>
                <a:gd name="connsiteY2" fmla="*/ 1126541 h 1675181"/>
                <a:gd name="connsiteX3" fmla="*/ 950597 w 950597"/>
                <a:gd name="connsiteY3" fmla="*/ 0 h 1675181"/>
                <a:gd name="connsiteX4" fmla="*/ 0 w 950597"/>
                <a:gd name="connsiteY4" fmla="*/ 559044 h 1675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0597" h="1675181">
                  <a:moveTo>
                    <a:pt x="0" y="559044"/>
                  </a:moveTo>
                  <a:lnTo>
                    <a:pt x="21567" y="1675181"/>
                  </a:lnTo>
                  <a:lnTo>
                    <a:pt x="943282" y="1126541"/>
                  </a:lnTo>
                  <a:cubicBezTo>
                    <a:pt x="945720" y="751027"/>
                    <a:pt x="948159" y="375514"/>
                    <a:pt x="950597" y="0"/>
                  </a:cubicBezTo>
                  <a:lnTo>
                    <a:pt x="0" y="559044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96016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EztrqPu0.ccF8qdOw.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8.aFC3p0ils54GIHuZg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46</TotalTime>
  <Words>564</Words>
  <Application>Microsoft Macintosh PowerPoint</Application>
  <PresentationFormat>Widescreen</PresentationFormat>
  <Paragraphs>115</Paragraphs>
  <Slides>7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Calibri</vt:lpstr>
      <vt:lpstr>Calibri Light</vt:lpstr>
      <vt:lpstr>Georgia</vt:lpstr>
      <vt:lpstr>Inter</vt:lpstr>
      <vt:lpstr>Söhne</vt:lpstr>
      <vt:lpstr>Times New Roman</vt:lpstr>
      <vt:lpstr>Wingdings</vt:lpstr>
      <vt:lpstr>Office Theme</vt:lpstr>
      <vt:lpstr>IBM Capstone Project Census Income Dataset Data Science Peers Presentation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ULA</dc:title>
  <dc:creator>Gonzalo Tamariz-Martel Sánchez</dc:creator>
  <cp:lastModifiedBy>Gonzalo Tamariz-Martel Sánchez</cp:lastModifiedBy>
  <cp:revision>4</cp:revision>
  <dcterms:created xsi:type="dcterms:W3CDTF">2023-11-25T23:15:01Z</dcterms:created>
  <dcterms:modified xsi:type="dcterms:W3CDTF">2024-01-14T19:09:03Z</dcterms:modified>
</cp:coreProperties>
</file>